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19"/>
  </p:notesMasterIdLst>
  <p:handoutMasterIdLst>
    <p:handoutMasterId r:id="rId20"/>
  </p:handoutMasterIdLst>
  <p:sldIdLst>
    <p:sldId id="394" r:id="rId2"/>
    <p:sldId id="469" r:id="rId3"/>
    <p:sldId id="453" r:id="rId4"/>
    <p:sldId id="474" r:id="rId5"/>
    <p:sldId id="475" r:id="rId6"/>
    <p:sldId id="476" r:id="rId7"/>
    <p:sldId id="477" r:id="rId8"/>
    <p:sldId id="472" r:id="rId9"/>
    <p:sldId id="478" r:id="rId10"/>
    <p:sldId id="479" r:id="rId11"/>
    <p:sldId id="480" r:id="rId12"/>
    <p:sldId id="481" r:id="rId13"/>
    <p:sldId id="482" r:id="rId14"/>
    <p:sldId id="473" r:id="rId15"/>
    <p:sldId id="470" r:id="rId16"/>
    <p:sldId id="471" r:id="rId17"/>
    <p:sldId id="468" r:id="rId18"/>
  </p:sldIdLst>
  <p:sldSz cx="12192000" cy="6858000"/>
  <p:notesSz cx="6735763" cy="98663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C9BC"/>
    <a:srgbClr val="CDAE9B"/>
    <a:srgbClr val="E7D8CF"/>
    <a:srgbClr val="52463C"/>
    <a:srgbClr val="603900"/>
    <a:srgbClr val="20D28E"/>
    <a:srgbClr val="1BB178"/>
    <a:srgbClr val="494949"/>
    <a:srgbClr val="41D3D7"/>
    <a:srgbClr val="139B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134" autoAdjust="0"/>
    <p:restoredTop sz="94660"/>
  </p:normalViewPr>
  <p:slideViewPr>
    <p:cSldViewPr snapToGrid="0">
      <p:cViewPr varScale="1">
        <p:scale>
          <a:sx n="71" d="100"/>
          <a:sy n="71" d="100"/>
        </p:scale>
        <p:origin x="558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19413" cy="495299"/>
          </a:xfrm>
          <a:prstGeom prst="rect">
            <a:avLst/>
          </a:prstGeom>
        </p:spPr>
        <p:txBody>
          <a:bodyPr vert="horz" lIns="91037" tIns="45519" rIns="91037" bIns="4551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4764" y="1"/>
            <a:ext cx="2919412" cy="495299"/>
          </a:xfrm>
          <a:prstGeom prst="rect">
            <a:avLst/>
          </a:prstGeom>
        </p:spPr>
        <p:txBody>
          <a:bodyPr vert="horz" lIns="91037" tIns="45519" rIns="91037" bIns="45519" rtlCol="0"/>
          <a:lstStyle>
            <a:lvl1pPr algn="r">
              <a:defRPr sz="1200"/>
            </a:lvl1pPr>
          </a:lstStyle>
          <a:p>
            <a:fld id="{4D31D81E-0F1F-433E-89F9-30AE41D072B9}" type="datetimeFigureOut">
              <a:rPr lang="ru-RU" smtClean="0"/>
              <a:pPr/>
              <a:t>18.09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4" y="9371015"/>
            <a:ext cx="2919413" cy="495299"/>
          </a:xfrm>
          <a:prstGeom prst="rect">
            <a:avLst/>
          </a:prstGeom>
        </p:spPr>
        <p:txBody>
          <a:bodyPr vert="horz" lIns="91037" tIns="45519" rIns="91037" bIns="4551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4764" y="9371015"/>
            <a:ext cx="2919412" cy="495299"/>
          </a:xfrm>
          <a:prstGeom prst="rect">
            <a:avLst/>
          </a:prstGeom>
        </p:spPr>
        <p:txBody>
          <a:bodyPr vert="horz" lIns="91037" tIns="45519" rIns="91037" bIns="45519" rtlCol="0" anchor="b"/>
          <a:lstStyle>
            <a:lvl1pPr algn="r">
              <a:defRPr sz="1200"/>
            </a:lvl1pPr>
          </a:lstStyle>
          <a:p>
            <a:fld id="{A9CD9D27-5B28-4668-ACBF-A470E6EDC0F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21701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19413" cy="495299"/>
          </a:xfrm>
          <a:prstGeom prst="rect">
            <a:avLst/>
          </a:prstGeom>
        </p:spPr>
        <p:txBody>
          <a:bodyPr vert="horz" lIns="91051" tIns="45526" rIns="91051" bIns="4552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4764" y="1"/>
            <a:ext cx="2919412" cy="495299"/>
          </a:xfrm>
          <a:prstGeom prst="rect">
            <a:avLst/>
          </a:prstGeom>
        </p:spPr>
        <p:txBody>
          <a:bodyPr vert="horz" lIns="91051" tIns="45526" rIns="91051" bIns="45526" rtlCol="0"/>
          <a:lstStyle>
            <a:lvl1pPr algn="r">
              <a:defRPr sz="1200"/>
            </a:lvl1pPr>
          </a:lstStyle>
          <a:p>
            <a:fld id="{E2214AB4-E4B9-4EE4-BA51-40E465D39ACA}" type="datetimeFigureOut">
              <a:rPr lang="ru-RU" smtClean="0"/>
              <a:pPr/>
              <a:t>18.09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51" tIns="45526" rIns="91051" bIns="4552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100" y="4748215"/>
            <a:ext cx="5389564" cy="3884612"/>
          </a:xfrm>
          <a:prstGeom prst="rect">
            <a:avLst/>
          </a:prstGeom>
        </p:spPr>
        <p:txBody>
          <a:bodyPr vert="horz" lIns="91051" tIns="45526" rIns="91051" bIns="4552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371015"/>
            <a:ext cx="2919413" cy="495299"/>
          </a:xfrm>
          <a:prstGeom prst="rect">
            <a:avLst/>
          </a:prstGeom>
        </p:spPr>
        <p:txBody>
          <a:bodyPr vert="horz" lIns="91051" tIns="45526" rIns="91051" bIns="4552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4764" y="9371015"/>
            <a:ext cx="2919412" cy="495299"/>
          </a:xfrm>
          <a:prstGeom prst="rect">
            <a:avLst/>
          </a:prstGeom>
        </p:spPr>
        <p:txBody>
          <a:bodyPr vert="horz" lIns="91051" tIns="45526" rIns="91051" bIns="45526" rtlCol="0" anchor="b"/>
          <a:lstStyle>
            <a:lvl1pPr algn="r">
              <a:defRPr sz="1200"/>
            </a:lvl1pPr>
          </a:lstStyle>
          <a:p>
            <a:fld id="{29E7C012-C891-4634-B821-731B0D3AD56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20473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E7C012-C891-4634-B821-731B0D3AD564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0659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6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12" Type="http://schemas.openxmlformats.org/officeDocument/2006/relationships/image" Target="../media/image15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jpeg"/><Relationship Id="rId11" Type="http://schemas.openxmlformats.org/officeDocument/2006/relationships/image" Target="../media/image14.jpeg"/><Relationship Id="rId5" Type="http://schemas.openxmlformats.org/officeDocument/2006/relationships/image" Target="../media/image8.jpeg"/><Relationship Id="rId10" Type="http://schemas.openxmlformats.org/officeDocument/2006/relationships/image" Target="../media/image13.jpeg"/><Relationship Id="rId4" Type="http://schemas.openxmlformats.org/officeDocument/2006/relationships/image" Target="../media/image7.jpeg"/><Relationship Id="rId9" Type="http://schemas.openxmlformats.org/officeDocument/2006/relationships/image" Target="../media/image12.jpeg"/><Relationship Id="rId14" Type="http://schemas.openxmlformats.org/officeDocument/2006/relationships/image" Target="../media/image17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jpeg"/><Relationship Id="rId11" Type="http://schemas.openxmlformats.org/officeDocument/2006/relationships/image" Target="../media/image26.jpeg"/><Relationship Id="rId5" Type="http://schemas.openxmlformats.org/officeDocument/2006/relationships/image" Target="../media/image21.jpeg"/><Relationship Id="rId10" Type="http://schemas.openxmlformats.org/officeDocument/2006/relationships/image" Target="../media/image6.jpeg"/><Relationship Id="rId4" Type="http://schemas.openxmlformats.org/officeDocument/2006/relationships/image" Target="../media/image20.jpeg"/><Relationship Id="rId9" Type="http://schemas.openxmlformats.org/officeDocument/2006/relationships/image" Target="../media/image25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10" Type="http://schemas.openxmlformats.org/officeDocument/2006/relationships/image" Target="../media/image6.jpeg"/><Relationship Id="rId4" Type="http://schemas.openxmlformats.org/officeDocument/2006/relationships/image" Target="../media/image20.jpeg"/><Relationship Id="rId9" Type="http://schemas.openxmlformats.org/officeDocument/2006/relationships/image" Target="../media/image25.jpe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jpeg"/><Relationship Id="rId11" Type="http://schemas.openxmlformats.org/officeDocument/2006/relationships/image" Target="../media/image29.jpeg"/><Relationship Id="rId5" Type="http://schemas.openxmlformats.org/officeDocument/2006/relationships/image" Target="../media/image22.jpeg"/><Relationship Id="rId10" Type="http://schemas.openxmlformats.org/officeDocument/2006/relationships/image" Target="../media/image28.jpeg"/><Relationship Id="rId4" Type="http://schemas.openxmlformats.org/officeDocument/2006/relationships/image" Target="../media/image21.jpeg"/><Relationship Id="rId9" Type="http://schemas.openxmlformats.org/officeDocument/2006/relationships/image" Target="../media/image27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31.jpeg"/><Relationship Id="rId7" Type="http://schemas.openxmlformats.org/officeDocument/2006/relationships/image" Target="../media/image21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jpeg"/><Relationship Id="rId11" Type="http://schemas.openxmlformats.org/officeDocument/2006/relationships/image" Target="../media/image25.jpeg"/><Relationship Id="rId5" Type="http://schemas.openxmlformats.org/officeDocument/2006/relationships/image" Target="../media/image19.jpeg"/><Relationship Id="rId10" Type="http://schemas.openxmlformats.org/officeDocument/2006/relationships/image" Target="../media/image24.jpeg"/><Relationship Id="rId4" Type="http://schemas.openxmlformats.org/officeDocument/2006/relationships/image" Target="../media/image32.jpeg"/><Relationship Id="rId9" Type="http://schemas.openxmlformats.org/officeDocument/2006/relationships/image" Target="../media/image23.jpe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32.jpeg"/><Relationship Id="rId7" Type="http://schemas.openxmlformats.org/officeDocument/2006/relationships/image" Target="../media/image22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10" Type="http://schemas.openxmlformats.org/officeDocument/2006/relationships/image" Target="../media/image25.jpeg"/><Relationship Id="rId4" Type="http://schemas.openxmlformats.org/officeDocument/2006/relationships/image" Target="../media/image19.jpeg"/><Relationship Id="rId9" Type="http://schemas.openxmlformats.org/officeDocument/2006/relationships/image" Target="../media/image24.jpe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5"/>
          <p:cNvGrpSpPr/>
          <p:nvPr userDrawn="1"/>
        </p:nvGrpSpPr>
        <p:grpSpPr>
          <a:xfrm>
            <a:off x="335360" y="-243408"/>
            <a:ext cx="11490019" cy="3816424"/>
            <a:chOff x="202958" y="-11723"/>
            <a:chExt cx="8617514" cy="1352491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solidFill>
                  <a:prstClr val="white"/>
                </a:solidFill>
              </a:endParaRPr>
            </a:p>
          </p:txBody>
        </p:sp>
        <p:sp>
          <p:nvSpPr>
            <p:cNvPr id="8" name="Скругленный прямоугольник 7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3" name="Группа 8"/>
          <p:cNvGrpSpPr/>
          <p:nvPr userDrawn="1"/>
        </p:nvGrpSpPr>
        <p:grpSpPr>
          <a:xfrm>
            <a:off x="0" y="-83731"/>
            <a:ext cx="12192000" cy="200363"/>
            <a:chOff x="0" y="-11723"/>
            <a:chExt cx="9144000" cy="200363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solidFill>
                  <a:prstClr val="white"/>
                </a:solidFill>
              </a:endParaRP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solidFill>
                  <a:prstClr val="white"/>
                </a:solidFill>
              </a:endParaRPr>
            </a:p>
          </p:txBody>
        </p:sp>
      </p:grpSp>
      <p:cxnSp>
        <p:nvCxnSpPr>
          <p:cNvPr id="12" name="Прямая соединительная линия 11"/>
          <p:cNvCxnSpPr/>
          <p:nvPr userDrawn="1"/>
        </p:nvCxnSpPr>
        <p:spPr>
          <a:xfrm>
            <a:off x="6096000" y="4509120"/>
            <a:ext cx="5184576" cy="0"/>
          </a:xfrm>
          <a:prstGeom prst="line">
            <a:avLst/>
          </a:prstGeom>
          <a:ln w="15875" cmpd="thickThin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12"/>
          <p:cNvGrpSpPr/>
          <p:nvPr userDrawn="1"/>
        </p:nvGrpSpPr>
        <p:grpSpPr>
          <a:xfrm>
            <a:off x="1792" y="6453336"/>
            <a:ext cx="12190209" cy="404664"/>
            <a:chOff x="1343" y="6451068"/>
            <a:chExt cx="9142657" cy="406932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3275856" y="6451068"/>
              <a:ext cx="3491880" cy="406932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solidFill>
                  <a:prstClr val="white"/>
                </a:solidFill>
              </a:endParaRP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732240" y="6451068"/>
              <a:ext cx="2411760" cy="4069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solidFill>
                  <a:prstClr val="white"/>
                </a:solidFill>
              </a:endParaRP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1343" y="6451068"/>
              <a:ext cx="6802905" cy="4069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solidFill>
                  <a:prstClr val="white"/>
                </a:solidFill>
              </a:endParaRPr>
            </a:p>
          </p:txBody>
        </p:sp>
      </p:grpSp>
      <p:pic>
        <p:nvPicPr>
          <p:cNvPr id="1026" name="Picture 2" descr="V:\Записи и презентации\Презентации\!ДЛЯ ИСПОЛЬЗОВАНИЯ В ПРЕЗЕНТАЦИЯХ\ГЕРБ МФСК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3339" y="188640"/>
            <a:ext cx="2592288" cy="207528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58468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12192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565" y="6448252"/>
            <a:ext cx="960107" cy="365125"/>
          </a:xfrm>
        </p:spPr>
        <p:txBody>
          <a:bodyPr/>
          <a:lstStyle>
            <a:lvl1pPr algn="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387888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>
                <a:solidFill>
                  <a:srgbClr val="6AB0AA">
                    <a:lumMod val="75000"/>
                  </a:srgbClr>
                </a:solidFill>
              </a:rPr>
              <a:pPr/>
              <a:t>‹#›</a:t>
            </a:fld>
            <a:endParaRPr lang="ru-RU">
              <a:solidFill>
                <a:srgbClr val="6AB0AA">
                  <a:lumMod val="75000"/>
                </a:srgbClr>
              </a:solidFill>
            </a:endParaRPr>
          </a:p>
        </p:txBody>
      </p:sp>
      <p:grpSp>
        <p:nvGrpSpPr>
          <p:cNvPr id="2" name="Группа 6"/>
          <p:cNvGrpSpPr/>
          <p:nvPr userDrawn="1"/>
        </p:nvGrpSpPr>
        <p:grpSpPr>
          <a:xfrm>
            <a:off x="558643" y="-315416"/>
            <a:ext cx="11490019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3" name="Группа 9"/>
          <p:cNvGrpSpPr/>
          <p:nvPr userDrawn="1"/>
        </p:nvGrpSpPr>
        <p:grpSpPr>
          <a:xfrm>
            <a:off x="0" y="-83731"/>
            <a:ext cx="12192000" cy="200363"/>
            <a:chOff x="0" y="-11723"/>
            <a:chExt cx="9144000" cy="2003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5" name="Группа 12"/>
          <p:cNvGrpSpPr/>
          <p:nvPr userDrawn="1"/>
        </p:nvGrpSpPr>
        <p:grpSpPr>
          <a:xfrm>
            <a:off x="1792" y="6451068"/>
            <a:ext cx="12190209" cy="406932"/>
            <a:chOff x="1343" y="6451068"/>
            <a:chExt cx="9142657" cy="406932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1343" y="6451068"/>
              <a:ext cx="3274513" cy="4069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3275856" y="6451068"/>
              <a:ext cx="3491880" cy="406932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732240" y="6451068"/>
              <a:ext cx="2411760" cy="4069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prstClr val="white"/>
                </a:solidFill>
              </a:endParaRPr>
            </a:p>
          </p:txBody>
        </p:sp>
      </p:grpSp>
      <p:sp>
        <p:nvSpPr>
          <p:cNvPr id="17" name="TextBox 16"/>
          <p:cNvSpPr txBox="1"/>
          <p:nvPr userDrawn="1"/>
        </p:nvSpPr>
        <p:spPr>
          <a:xfrm>
            <a:off x="239349" y="6453499"/>
            <a:ext cx="41284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 smtClean="0">
                <a:solidFill>
                  <a:srgbClr val="ECF0F1">
                    <a:lumMod val="90000"/>
                  </a:srgbClr>
                </a:solidFill>
                <a:cs typeface="Arial" charset="0"/>
              </a:rPr>
              <a:t>Министерство финансов</a:t>
            </a:r>
            <a:endParaRPr lang="ru-RU" sz="1400" b="1" dirty="0">
              <a:solidFill>
                <a:srgbClr val="ECF0F1">
                  <a:lumMod val="90000"/>
                </a:srgbClr>
              </a:solidFill>
              <a:cs typeface="Arial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4258393" y="6446167"/>
            <a:ext cx="41284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 smtClean="0">
                <a:solidFill>
                  <a:srgbClr val="6AB0AA">
                    <a:lumMod val="75000"/>
                  </a:srgbClr>
                </a:solidFill>
                <a:cs typeface="Arial" charset="0"/>
              </a:rPr>
              <a:t>Ставропольского края</a:t>
            </a:r>
            <a:endParaRPr lang="ru-RU" sz="1400" b="1" dirty="0">
              <a:solidFill>
                <a:srgbClr val="6AB0AA">
                  <a:lumMod val="75000"/>
                </a:srgb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4470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>
                <a:solidFill>
                  <a:srgbClr val="6AB0AA">
                    <a:lumMod val="75000"/>
                  </a:srgbClr>
                </a:solidFill>
              </a:rPr>
              <a:pPr/>
              <a:t>‹#›</a:t>
            </a:fld>
            <a:endParaRPr lang="ru-RU">
              <a:solidFill>
                <a:srgbClr val="6AB0AA">
                  <a:lumMod val="75000"/>
                </a:srgbClr>
              </a:solidFill>
            </a:endParaRPr>
          </a:p>
        </p:txBody>
      </p:sp>
      <p:grpSp>
        <p:nvGrpSpPr>
          <p:cNvPr id="2" name="Группа 6"/>
          <p:cNvGrpSpPr/>
          <p:nvPr userDrawn="1"/>
        </p:nvGrpSpPr>
        <p:grpSpPr>
          <a:xfrm>
            <a:off x="558643" y="-315416"/>
            <a:ext cx="11490019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3" name="Группа 9"/>
          <p:cNvGrpSpPr/>
          <p:nvPr userDrawn="1"/>
        </p:nvGrpSpPr>
        <p:grpSpPr>
          <a:xfrm>
            <a:off x="0" y="-83731"/>
            <a:ext cx="12192000" cy="200363"/>
            <a:chOff x="0" y="-11723"/>
            <a:chExt cx="9144000" cy="2003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5" name="Группа 12"/>
          <p:cNvGrpSpPr/>
          <p:nvPr userDrawn="1"/>
        </p:nvGrpSpPr>
        <p:grpSpPr>
          <a:xfrm>
            <a:off x="1792" y="6451068"/>
            <a:ext cx="12190209" cy="406932"/>
            <a:chOff x="1343" y="6451068"/>
            <a:chExt cx="9142657" cy="406932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1343" y="6451068"/>
              <a:ext cx="3274513" cy="4069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3275856" y="6451068"/>
              <a:ext cx="3491880" cy="406932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732240" y="6451068"/>
              <a:ext cx="2411760" cy="4069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prstClr val="white"/>
                </a:solidFill>
              </a:endParaRPr>
            </a:p>
          </p:txBody>
        </p:sp>
      </p:grpSp>
      <p:sp>
        <p:nvSpPr>
          <p:cNvPr id="17" name="TextBox 16"/>
          <p:cNvSpPr txBox="1"/>
          <p:nvPr userDrawn="1"/>
        </p:nvSpPr>
        <p:spPr>
          <a:xfrm>
            <a:off x="239349" y="6453499"/>
            <a:ext cx="41284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 smtClean="0">
                <a:solidFill>
                  <a:srgbClr val="ECF0F1">
                    <a:lumMod val="90000"/>
                  </a:srgbClr>
                </a:solidFill>
                <a:cs typeface="Arial" charset="0"/>
              </a:rPr>
              <a:t>Министерство финансов</a:t>
            </a:r>
            <a:endParaRPr lang="ru-RU" sz="1400" b="1" dirty="0">
              <a:solidFill>
                <a:srgbClr val="ECF0F1">
                  <a:lumMod val="90000"/>
                </a:srgbClr>
              </a:solidFill>
              <a:cs typeface="Arial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4258393" y="6446167"/>
            <a:ext cx="41284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 smtClean="0">
                <a:solidFill>
                  <a:srgbClr val="6AB0AA">
                    <a:lumMod val="75000"/>
                  </a:srgbClr>
                </a:solidFill>
                <a:cs typeface="Arial" charset="0"/>
              </a:rPr>
              <a:t>Ставропольского края</a:t>
            </a:r>
            <a:endParaRPr lang="ru-RU" sz="1400" b="1" dirty="0">
              <a:solidFill>
                <a:srgbClr val="6AB0AA">
                  <a:lumMod val="75000"/>
                </a:srgb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23695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24B80A-506B-47C0-BF92-BE1E19B7E09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1166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1"/>
          <p:cNvSpPr/>
          <p:nvPr userDrawn="1"/>
        </p:nvSpPr>
        <p:spPr>
          <a:xfrm>
            <a:off x="5789156" y="1544188"/>
            <a:ext cx="6388865" cy="532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8" name="object 2"/>
          <p:cNvSpPr/>
          <p:nvPr userDrawn="1"/>
        </p:nvSpPr>
        <p:spPr>
          <a:xfrm>
            <a:off x="857" y="729000"/>
            <a:ext cx="540000" cy="5400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grpSp>
        <p:nvGrpSpPr>
          <p:cNvPr id="20" name="Группа 19"/>
          <p:cNvGrpSpPr/>
          <p:nvPr userDrawn="1"/>
        </p:nvGrpSpPr>
        <p:grpSpPr>
          <a:xfrm>
            <a:off x="7163375" y="354032"/>
            <a:ext cx="4362732" cy="712680"/>
            <a:chOff x="762576" y="730554"/>
            <a:chExt cx="4362732" cy="712680"/>
          </a:xfrm>
        </p:grpSpPr>
        <p:sp>
          <p:nvSpPr>
            <p:cNvPr id="9" name="object 71"/>
            <p:cNvSpPr/>
            <p:nvPr userDrawn="1"/>
          </p:nvSpPr>
          <p:spPr>
            <a:xfrm>
              <a:off x="762576" y="730554"/>
              <a:ext cx="570856" cy="712680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/>
            </a:p>
          </p:txBody>
        </p:sp>
        <p:sp>
          <p:nvSpPr>
            <p:cNvPr id="10" name="object 72"/>
            <p:cNvSpPr/>
            <p:nvPr userDrawn="1"/>
          </p:nvSpPr>
          <p:spPr>
            <a:xfrm>
              <a:off x="4577028" y="974048"/>
              <a:ext cx="548280" cy="252158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/>
            </a:p>
          </p:txBody>
        </p:sp>
        <p:sp>
          <p:nvSpPr>
            <p:cNvPr id="11" name="object 73"/>
            <p:cNvSpPr/>
            <p:nvPr userDrawn="1"/>
          </p:nvSpPr>
          <p:spPr>
            <a:xfrm>
              <a:off x="4373808" y="1031557"/>
              <a:ext cx="557402" cy="194648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/>
            </a:p>
          </p:txBody>
        </p:sp>
        <p:sp>
          <p:nvSpPr>
            <p:cNvPr id="12" name="object 74"/>
            <p:cNvSpPr/>
            <p:nvPr userDrawn="1"/>
          </p:nvSpPr>
          <p:spPr>
            <a:xfrm>
              <a:off x="4094280" y="974048"/>
              <a:ext cx="172806" cy="252158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/>
            </a:p>
          </p:txBody>
        </p:sp>
        <p:sp>
          <p:nvSpPr>
            <p:cNvPr id="13" name="object 75"/>
            <p:cNvSpPr/>
            <p:nvPr userDrawn="1"/>
          </p:nvSpPr>
          <p:spPr>
            <a:xfrm>
              <a:off x="3681205" y="1032663"/>
              <a:ext cx="376026" cy="193542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/>
            </a:p>
          </p:txBody>
        </p:sp>
        <p:sp>
          <p:nvSpPr>
            <p:cNvPr id="14" name="object 76"/>
            <p:cNvSpPr/>
            <p:nvPr userDrawn="1"/>
          </p:nvSpPr>
          <p:spPr>
            <a:xfrm>
              <a:off x="3308216" y="1028792"/>
              <a:ext cx="342017" cy="201283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/>
            </a:p>
          </p:txBody>
        </p:sp>
        <p:sp>
          <p:nvSpPr>
            <p:cNvPr id="15" name="object 77"/>
            <p:cNvSpPr/>
            <p:nvPr userDrawn="1"/>
          </p:nvSpPr>
          <p:spPr>
            <a:xfrm>
              <a:off x="2874123" y="1028792"/>
              <a:ext cx="397041" cy="201283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/>
            </a:p>
          </p:txBody>
        </p:sp>
        <p:sp>
          <p:nvSpPr>
            <p:cNvPr id="16" name="object 78"/>
            <p:cNvSpPr/>
            <p:nvPr userDrawn="1"/>
          </p:nvSpPr>
          <p:spPr>
            <a:xfrm>
              <a:off x="2675606" y="1032663"/>
              <a:ext cx="167551" cy="193542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/>
            </a:p>
          </p:txBody>
        </p:sp>
        <p:sp>
          <p:nvSpPr>
            <p:cNvPr id="17" name="object 79"/>
            <p:cNvSpPr/>
            <p:nvPr userDrawn="1"/>
          </p:nvSpPr>
          <p:spPr>
            <a:xfrm>
              <a:off x="2265015" y="1028792"/>
              <a:ext cx="379623" cy="201283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/>
            </a:p>
          </p:txBody>
        </p:sp>
        <p:sp>
          <p:nvSpPr>
            <p:cNvPr id="18" name="object 80"/>
            <p:cNvSpPr/>
            <p:nvPr userDrawn="1"/>
          </p:nvSpPr>
          <p:spPr>
            <a:xfrm>
              <a:off x="1687424" y="1031557"/>
              <a:ext cx="549388" cy="194648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/>
            </a:p>
          </p:txBody>
        </p:sp>
        <p:sp>
          <p:nvSpPr>
            <p:cNvPr id="19" name="object 81"/>
            <p:cNvSpPr/>
            <p:nvPr userDrawn="1"/>
          </p:nvSpPr>
          <p:spPr>
            <a:xfrm>
              <a:off x="1506322" y="1028792"/>
              <a:ext cx="540539" cy="201283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>
              <a:spAutoFit/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9197941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97941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ject 83"/>
          <p:cNvSpPr/>
          <p:nvPr userDrawn="1"/>
        </p:nvSpPr>
        <p:spPr>
          <a:xfrm>
            <a:off x="9867549" y="160564"/>
            <a:ext cx="22646" cy="478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2" name="object 84"/>
          <p:cNvSpPr/>
          <p:nvPr userDrawn="1"/>
        </p:nvSpPr>
        <p:spPr>
          <a:xfrm>
            <a:off x="11479896" y="319544"/>
            <a:ext cx="399380" cy="13400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3" name="object 85"/>
          <p:cNvSpPr/>
          <p:nvPr userDrawn="1"/>
        </p:nvSpPr>
        <p:spPr>
          <a:xfrm>
            <a:off x="11111811" y="319544"/>
            <a:ext cx="311363" cy="13400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4" name="object 86"/>
          <p:cNvSpPr/>
          <p:nvPr userDrawn="1"/>
        </p:nvSpPr>
        <p:spPr>
          <a:xfrm>
            <a:off x="10913586" y="348639"/>
            <a:ext cx="398060" cy="10696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5" name="object 87"/>
          <p:cNvSpPr/>
          <p:nvPr userDrawn="1"/>
        </p:nvSpPr>
        <p:spPr>
          <a:xfrm>
            <a:off x="10682892" y="348639"/>
            <a:ext cx="412459" cy="10696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6" name="object 88"/>
          <p:cNvSpPr/>
          <p:nvPr userDrawn="1"/>
        </p:nvSpPr>
        <p:spPr>
          <a:xfrm>
            <a:off x="10359179" y="348639"/>
            <a:ext cx="534719" cy="10696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7" name="object 89"/>
          <p:cNvSpPr/>
          <p:nvPr userDrawn="1"/>
        </p:nvSpPr>
        <p:spPr>
          <a:xfrm>
            <a:off x="9955972" y="348639"/>
            <a:ext cx="604958" cy="10696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8" name="object 90"/>
          <p:cNvSpPr/>
          <p:nvPr userDrawn="1"/>
        </p:nvSpPr>
        <p:spPr>
          <a:xfrm>
            <a:off x="9955972" y="348639"/>
            <a:ext cx="388217" cy="10696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9" name="object 2"/>
          <p:cNvSpPr/>
          <p:nvPr userDrawn="1"/>
        </p:nvSpPr>
        <p:spPr>
          <a:xfrm>
            <a:off x="857" y="729000"/>
            <a:ext cx="540000" cy="54000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2" name="object 82"/>
          <p:cNvSpPr/>
          <p:nvPr userDrawn="1"/>
        </p:nvSpPr>
        <p:spPr>
          <a:xfrm>
            <a:off x="1009976" y="628269"/>
            <a:ext cx="794498" cy="3764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172248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511525" y="93125"/>
            <a:ext cx="11168950" cy="1170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11525" y="6646325"/>
            <a:ext cx="11168950" cy="1170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72248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ject 83"/>
          <p:cNvSpPr/>
          <p:nvPr userDrawn="1"/>
        </p:nvSpPr>
        <p:spPr>
          <a:xfrm>
            <a:off x="9867549" y="160564"/>
            <a:ext cx="22646" cy="478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2" name="object 84"/>
          <p:cNvSpPr/>
          <p:nvPr userDrawn="1"/>
        </p:nvSpPr>
        <p:spPr>
          <a:xfrm>
            <a:off x="11479896" y="319544"/>
            <a:ext cx="399380" cy="13400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3" name="object 85"/>
          <p:cNvSpPr/>
          <p:nvPr userDrawn="1"/>
        </p:nvSpPr>
        <p:spPr>
          <a:xfrm>
            <a:off x="11111811" y="319544"/>
            <a:ext cx="311363" cy="13400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4" name="object 86"/>
          <p:cNvSpPr/>
          <p:nvPr userDrawn="1"/>
        </p:nvSpPr>
        <p:spPr>
          <a:xfrm>
            <a:off x="10913586" y="348639"/>
            <a:ext cx="398060" cy="10696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5" name="object 87"/>
          <p:cNvSpPr/>
          <p:nvPr userDrawn="1"/>
        </p:nvSpPr>
        <p:spPr>
          <a:xfrm>
            <a:off x="10682892" y="348639"/>
            <a:ext cx="412459" cy="10696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6" name="object 88"/>
          <p:cNvSpPr/>
          <p:nvPr userDrawn="1"/>
        </p:nvSpPr>
        <p:spPr>
          <a:xfrm>
            <a:off x="10359179" y="348639"/>
            <a:ext cx="534719" cy="10696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7" name="object 89"/>
          <p:cNvSpPr/>
          <p:nvPr userDrawn="1"/>
        </p:nvSpPr>
        <p:spPr>
          <a:xfrm>
            <a:off x="9955972" y="348639"/>
            <a:ext cx="604958" cy="10696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8" name="object 90"/>
          <p:cNvSpPr/>
          <p:nvPr userDrawn="1"/>
        </p:nvSpPr>
        <p:spPr>
          <a:xfrm>
            <a:off x="9955972" y="348639"/>
            <a:ext cx="388217" cy="10696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9" name="object 2"/>
          <p:cNvSpPr/>
          <p:nvPr userDrawn="1"/>
        </p:nvSpPr>
        <p:spPr>
          <a:xfrm>
            <a:off x="857" y="729000"/>
            <a:ext cx="540000" cy="54000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535247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bject 84"/>
          <p:cNvSpPr/>
          <p:nvPr userDrawn="1"/>
        </p:nvSpPr>
        <p:spPr>
          <a:xfrm>
            <a:off x="11479896" y="319544"/>
            <a:ext cx="399380" cy="13400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3" name="object 85"/>
          <p:cNvSpPr/>
          <p:nvPr userDrawn="1"/>
        </p:nvSpPr>
        <p:spPr>
          <a:xfrm>
            <a:off x="11111811" y="319544"/>
            <a:ext cx="311363" cy="13400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4" name="object 86"/>
          <p:cNvSpPr/>
          <p:nvPr userDrawn="1"/>
        </p:nvSpPr>
        <p:spPr>
          <a:xfrm>
            <a:off x="10913586" y="348639"/>
            <a:ext cx="398060" cy="10696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5" name="object 87"/>
          <p:cNvSpPr/>
          <p:nvPr userDrawn="1"/>
        </p:nvSpPr>
        <p:spPr>
          <a:xfrm>
            <a:off x="10682892" y="348639"/>
            <a:ext cx="412459" cy="10696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6" name="object 88"/>
          <p:cNvSpPr/>
          <p:nvPr userDrawn="1"/>
        </p:nvSpPr>
        <p:spPr>
          <a:xfrm>
            <a:off x="10359179" y="348639"/>
            <a:ext cx="534719" cy="10696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7" name="object 89"/>
          <p:cNvSpPr/>
          <p:nvPr userDrawn="1"/>
        </p:nvSpPr>
        <p:spPr>
          <a:xfrm>
            <a:off x="9955972" y="348639"/>
            <a:ext cx="604958" cy="10696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28" name="object 90"/>
          <p:cNvSpPr/>
          <p:nvPr userDrawn="1"/>
        </p:nvSpPr>
        <p:spPr>
          <a:xfrm>
            <a:off x="9955972" y="348639"/>
            <a:ext cx="388217" cy="10696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1" name="object 22"/>
          <p:cNvSpPr/>
          <p:nvPr userDrawn="1"/>
        </p:nvSpPr>
        <p:spPr>
          <a:xfrm>
            <a:off x="9844598" y="147533"/>
            <a:ext cx="22646" cy="47802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2" name="object 20"/>
          <p:cNvSpPr/>
          <p:nvPr userDrawn="1"/>
        </p:nvSpPr>
        <p:spPr>
          <a:xfrm>
            <a:off x="1004148" y="626707"/>
            <a:ext cx="794498" cy="3764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3" name="object 21"/>
          <p:cNvSpPr/>
          <p:nvPr userDrawn="1"/>
        </p:nvSpPr>
        <p:spPr>
          <a:xfrm>
            <a:off x="857" y="729000"/>
            <a:ext cx="540000" cy="54000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938402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D:\Users\krdoas\Desktop\ДЛЯ ПРЕЗЕНТАЦИЙ\15.03.2018 ППМИ\фон.png"/>
          <p:cNvPicPr>
            <a:picLocks noChangeAspect="1" noChangeArrowheads="1"/>
          </p:cNvPicPr>
          <p:nvPr userDrawn="1"/>
        </p:nvPicPr>
        <p:blipFill>
          <a:blip r:embed="rId2" cstate="print">
            <a:lum bright="35000" contrast="-44000"/>
          </a:blip>
          <a:srcRect/>
          <a:stretch>
            <a:fillRect/>
          </a:stretch>
        </p:blipFill>
        <p:spPr bwMode="auto">
          <a:xfrm>
            <a:off x="0" y="0"/>
            <a:ext cx="12234728" cy="6858000"/>
          </a:xfrm>
          <a:prstGeom prst="rect">
            <a:avLst/>
          </a:prstGeom>
          <a:noFill/>
        </p:spPr>
      </p:pic>
      <p:sp>
        <p:nvSpPr>
          <p:cNvPr id="1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12192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sp>
        <p:nvSpPr>
          <p:cNvPr id="2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565" y="6448252"/>
            <a:ext cx="960107" cy="365125"/>
          </a:xfrm>
        </p:spPr>
        <p:txBody>
          <a:bodyPr/>
          <a:lstStyle>
            <a:lvl1pPr algn="ct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105876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120"/>
          <p:cNvSpPr/>
          <p:nvPr userDrawn="1"/>
        </p:nvSpPr>
        <p:spPr>
          <a:xfrm>
            <a:off x="857" y="729000"/>
            <a:ext cx="540000" cy="5400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5" name="object 121"/>
          <p:cNvSpPr/>
          <p:nvPr userDrawn="1"/>
        </p:nvSpPr>
        <p:spPr>
          <a:xfrm>
            <a:off x="1004148" y="610081"/>
            <a:ext cx="794499" cy="376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6" name="object 122"/>
          <p:cNvSpPr/>
          <p:nvPr userDrawn="1"/>
        </p:nvSpPr>
        <p:spPr>
          <a:xfrm>
            <a:off x="9776529" y="163108"/>
            <a:ext cx="22646" cy="4780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1" name="object 84"/>
          <p:cNvSpPr/>
          <p:nvPr userDrawn="1"/>
        </p:nvSpPr>
        <p:spPr>
          <a:xfrm>
            <a:off x="11479896" y="319544"/>
            <a:ext cx="399380" cy="13400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2" name="object 85"/>
          <p:cNvSpPr/>
          <p:nvPr userDrawn="1"/>
        </p:nvSpPr>
        <p:spPr>
          <a:xfrm>
            <a:off x="11111811" y="319544"/>
            <a:ext cx="311363" cy="13400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3" name="object 86"/>
          <p:cNvSpPr/>
          <p:nvPr userDrawn="1"/>
        </p:nvSpPr>
        <p:spPr>
          <a:xfrm>
            <a:off x="10913586" y="348639"/>
            <a:ext cx="398060" cy="10696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4" name="object 87"/>
          <p:cNvSpPr/>
          <p:nvPr userDrawn="1"/>
        </p:nvSpPr>
        <p:spPr>
          <a:xfrm>
            <a:off x="10682892" y="348639"/>
            <a:ext cx="412459" cy="10696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5" name="object 88"/>
          <p:cNvSpPr/>
          <p:nvPr userDrawn="1"/>
        </p:nvSpPr>
        <p:spPr>
          <a:xfrm>
            <a:off x="10359179" y="348639"/>
            <a:ext cx="534719" cy="10696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6" name="object 89"/>
          <p:cNvSpPr/>
          <p:nvPr userDrawn="1"/>
        </p:nvSpPr>
        <p:spPr>
          <a:xfrm>
            <a:off x="9955972" y="348639"/>
            <a:ext cx="604958" cy="106969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7" name="object 90"/>
          <p:cNvSpPr/>
          <p:nvPr userDrawn="1"/>
        </p:nvSpPr>
        <p:spPr>
          <a:xfrm>
            <a:off x="9955972" y="348639"/>
            <a:ext cx="388217" cy="10696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125208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120"/>
          <p:cNvSpPr/>
          <p:nvPr userDrawn="1"/>
        </p:nvSpPr>
        <p:spPr>
          <a:xfrm>
            <a:off x="857" y="729000"/>
            <a:ext cx="540000" cy="5400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6" name="object 122"/>
          <p:cNvSpPr/>
          <p:nvPr userDrawn="1"/>
        </p:nvSpPr>
        <p:spPr>
          <a:xfrm>
            <a:off x="9776529" y="163108"/>
            <a:ext cx="22646" cy="4780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1" name="object 84"/>
          <p:cNvSpPr/>
          <p:nvPr userDrawn="1"/>
        </p:nvSpPr>
        <p:spPr>
          <a:xfrm>
            <a:off x="11479896" y="319544"/>
            <a:ext cx="399380" cy="13400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2" name="object 85"/>
          <p:cNvSpPr/>
          <p:nvPr userDrawn="1"/>
        </p:nvSpPr>
        <p:spPr>
          <a:xfrm>
            <a:off x="11111811" y="319544"/>
            <a:ext cx="311363" cy="13400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3" name="object 86"/>
          <p:cNvSpPr/>
          <p:nvPr userDrawn="1"/>
        </p:nvSpPr>
        <p:spPr>
          <a:xfrm>
            <a:off x="10913586" y="348639"/>
            <a:ext cx="398060" cy="10696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4" name="object 87"/>
          <p:cNvSpPr/>
          <p:nvPr userDrawn="1"/>
        </p:nvSpPr>
        <p:spPr>
          <a:xfrm>
            <a:off x="10682892" y="348639"/>
            <a:ext cx="412459" cy="10696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5" name="object 88"/>
          <p:cNvSpPr/>
          <p:nvPr userDrawn="1"/>
        </p:nvSpPr>
        <p:spPr>
          <a:xfrm>
            <a:off x="10359179" y="348639"/>
            <a:ext cx="534719" cy="10696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6" name="object 89"/>
          <p:cNvSpPr/>
          <p:nvPr userDrawn="1"/>
        </p:nvSpPr>
        <p:spPr>
          <a:xfrm>
            <a:off x="9955972" y="348639"/>
            <a:ext cx="604958" cy="10696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37" name="object 90"/>
          <p:cNvSpPr/>
          <p:nvPr userDrawn="1"/>
        </p:nvSpPr>
        <p:spPr>
          <a:xfrm>
            <a:off x="9955972" y="348639"/>
            <a:ext cx="388217" cy="106969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671265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D:\Users\krdoas\Desktop\ДЛЯ ПРЕЗЕНТАЦИЙ\15.03.2018 ППМИ\фон2.jpg"/>
          <p:cNvPicPr>
            <a:picLocks noChangeAspect="1" noChangeArrowheads="1"/>
          </p:cNvPicPr>
          <p:nvPr userDrawn="1"/>
        </p:nvPicPr>
        <p:blipFill>
          <a:blip r:embed="rId2" cstate="print">
            <a:lum bright="9000"/>
          </a:blip>
          <a:srcRect/>
          <a:stretch>
            <a:fillRect/>
          </a:stretch>
        </p:blipFill>
        <p:spPr bwMode="auto">
          <a:xfrm>
            <a:off x="0" y="5445224"/>
            <a:ext cx="7152117" cy="1412776"/>
          </a:xfrm>
          <a:prstGeom prst="rect">
            <a:avLst/>
          </a:prstGeom>
          <a:noFill/>
        </p:spPr>
      </p:pic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12192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pic>
        <p:nvPicPr>
          <p:cNvPr id="6" name="Picture 2" descr="D:\Users\krdoas\Desktop\ДЛЯ ПРЕЗЕНТАЦИЙ\15.03.2018 ППМИ\фон2.jpg"/>
          <p:cNvPicPr>
            <a:picLocks noChangeAspect="1" noChangeArrowheads="1"/>
          </p:cNvPicPr>
          <p:nvPr userDrawn="1"/>
        </p:nvPicPr>
        <p:blipFill>
          <a:blip r:embed="rId2" cstate="print">
            <a:lum bright="9000"/>
          </a:blip>
          <a:srcRect/>
          <a:stretch>
            <a:fillRect/>
          </a:stretch>
        </p:blipFill>
        <p:spPr bwMode="auto">
          <a:xfrm>
            <a:off x="7152118" y="5445224"/>
            <a:ext cx="7152117" cy="1412776"/>
          </a:xfrm>
          <a:prstGeom prst="rect">
            <a:avLst/>
          </a:prstGeom>
          <a:noFill/>
        </p:spPr>
      </p:pic>
      <p:sp>
        <p:nvSpPr>
          <p:cNvPr id="7" name="Овал 6"/>
          <p:cNvSpPr/>
          <p:nvPr userDrawn="1"/>
        </p:nvSpPr>
        <p:spPr>
          <a:xfrm>
            <a:off x="11472597" y="6381328"/>
            <a:ext cx="719403" cy="47667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565" y="6448252"/>
            <a:ext cx="960107" cy="365125"/>
          </a:xfrm>
        </p:spPr>
        <p:txBody>
          <a:bodyPr/>
          <a:lstStyle>
            <a:lvl1pPr algn="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656675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D:\Users\krdoas\Desktop\ДЛЯ ПРЕЗЕНТАЦИЙ\15.03.2018 ППМИ\фон.png"/>
          <p:cNvPicPr>
            <a:picLocks noChangeAspect="1" noChangeArrowheads="1"/>
          </p:cNvPicPr>
          <p:nvPr userDrawn="1"/>
        </p:nvPicPr>
        <p:blipFill>
          <a:blip r:embed="rId2" cstate="print">
            <a:lum bright="69000" contrast="-86000"/>
          </a:blip>
          <a:srcRect/>
          <a:stretch>
            <a:fillRect/>
          </a:stretch>
        </p:blipFill>
        <p:spPr bwMode="auto">
          <a:xfrm>
            <a:off x="0" y="0"/>
            <a:ext cx="12234728" cy="6858000"/>
          </a:xfrm>
          <a:prstGeom prst="rect">
            <a:avLst/>
          </a:prstGeom>
          <a:noFill/>
        </p:spPr>
      </p:pic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12192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565" y="6448252"/>
            <a:ext cx="960107" cy="365125"/>
          </a:xfrm>
        </p:spPr>
        <p:txBody>
          <a:bodyPr/>
          <a:lstStyle>
            <a:lvl1pPr algn="ct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606171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12192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565" y="6448252"/>
            <a:ext cx="960107" cy="365125"/>
          </a:xfrm>
        </p:spPr>
        <p:txBody>
          <a:bodyPr/>
          <a:lstStyle>
            <a:lvl1pPr algn="ct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/>
              <a:pPr/>
              <a:t>‹#›</a:t>
            </a:fld>
            <a:endParaRPr/>
          </a:p>
        </p:txBody>
      </p:sp>
      <p:pic>
        <p:nvPicPr>
          <p:cNvPr id="13314" name="Picture 2" descr="D:\Users\krdoas\Desktop\ДЛЯ ПРЕЗЕНТАЦИЙ\15.03.2018 ППМИ\14570fa7893f15a.jp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prstClr val="black"/>
              <a:schemeClr val="tx2">
                <a:lumMod val="40000"/>
                <a:lumOff val="60000"/>
                <a:tint val="45000"/>
                <a:satMod val="400000"/>
              </a:schemeClr>
            </a:duotone>
            <a:lum bright="45000"/>
          </a:blip>
          <a:srcRect/>
          <a:stretch>
            <a:fillRect/>
          </a:stretch>
        </p:blipFill>
        <p:spPr bwMode="auto">
          <a:xfrm>
            <a:off x="-1104800" y="4430216"/>
            <a:ext cx="14209579" cy="2743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817996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D:\Users\krdoas\Desktop\ДЛЯ ПРЕЗЕНТАЦИЙ\15.03.2018 ППМИ\фон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229200"/>
            <a:ext cx="7152117" cy="1628800"/>
          </a:xfrm>
          <a:prstGeom prst="rect">
            <a:avLst/>
          </a:prstGeom>
          <a:noFill/>
        </p:spPr>
      </p:pic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12192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pic>
        <p:nvPicPr>
          <p:cNvPr id="6" name="Picture 2" descr="D:\Users\krdoas\Desktop\ДЛЯ ПРЕЗЕНТАЦИЙ\15.03.2018 ППМИ\фон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52118" y="5229200"/>
            <a:ext cx="7152117" cy="1628800"/>
          </a:xfrm>
          <a:prstGeom prst="rect">
            <a:avLst/>
          </a:prstGeom>
          <a:noFill/>
        </p:spPr>
      </p:pic>
      <p:sp>
        <p:nvSpPr>
          <p:cNvPr id="7" name="Овал 6"/>
          <p:cNvSpPr/>
          <p:nvPr userDrawn="1"/>
        </p:nvSpPr>
        <p:spPr>
          <a:xfrm>
            <a:off x="11472597" y="6381328"/>
            <a:ext cx="719403" cy="47667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565" y="6448252"/>
            <a:ext cx="960107" cy="365125"/>
          </a:xfrm>
        </p:spPr>
        <p:txBody>
          <a:bodyPr/>
          <a:lstStyle>
            <a:lvl1pPr algn="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49034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D:\Users\krdoas\Desktop\ДЛЯ ПРЕЗЕНТАЦИЙ\15.03.2018 ППМИ\фон2.jpg"/>
          <p:cNvPicPr>
            <a:picLocks noChangeAspect="1" noChangeArrowheads="1"/>
          </p:cNvPicPr>
          <p:nvPr userDrawn="1"/>
        </p:nvPicPr>
        <p:blipFill>
          <a:blip r:embed="rId2" cstate="print">
            <a:lum bright="9000"/>
          </a:blip>
          <a:srcRect/>
          <a:stretch>
            <a:fillRect/>
          </a:stretch>
        </p:blipFill>
        <p:spPr bwMode="auto">
          <a:xfrm>
            <a:off x="0" y="5445224"/>
            <a:ext cx="7152117" cy="1412776"/>
          </a:xfrm>
          <a:prstGeom prst="rect">
            <a:avLst/>
          </a:prstGeom>
          <a:noFill/>
        </p:spPr>
      </p:pic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12192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pic>
        <p:nvPicPr>
          <p:cNvPr id="6" name="Picture 2" descr="D:\Users\krdoas\Desktop\ДЛЯ ПРЕЗЕНТАЦИЙ\15.03.2018 ППМИ\фон2.jpg"/>
          <p:cNvPicPr>
            <a:picLocks noChangeAspect="1" noChangeArrowheads="1"/>
          </p:cNvPicPr>
          <p:nvPr userDrawn="1"/>
        </p:nvPicPr>
        <p:blipFill>
          <a:blip r:embed="rId2" cstate="print">
            <a:lum bright="9000"/>
          </a:blip>
          <a:srcRect/>
          <a:stretch>
            <a:fillRect/>
          </a:stretch>
        </p:blipFill>
        <p:spPr bwMode="auto">
          <a:xfrm>
            <a:off x="7152118" y="5445224"/>
            <a:ext cx="7152117" cy="141277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627270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12192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pic>
        <p:nvPicPr>
          <p:cNvPr id="6" name="Picture 2" descr="D:\Users\krdoas\Desktop\ДЛЯ ПРЕЗЕНТАЦИЙ\15.03.2018 ППМИ\фон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 rot="16200000">
            <a:off x="8424089" y="1596178"/>
            <a:ext cx="5364088" cy="2171733"/>
          </a:xfrm>
          <a:prstGeom prst="rect">
            <a:avLst/>
          </a:prstGeom>
          <a:noFill/>
        </p:spPr>
      </p:pic>
      <p:sp>
        <p:nvSpPr>
          <p:cNvPr id="7" name="Овал 6"/>
          <p:cNvSpPr/>
          <p:nvPr userDrawn="1"/>
        </p:nvSpPr>
        <p:spPr>
          <a:xfrm>
            <a:off x="11472597" y="6381328"/>
            <a:ext cx="719403" cy="47667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565" y="6448252"/>
            <a:ext cx="960107" cy="365125"/>
          </a:xfrm>
        </p:spPr>
        <p:txBody>
          <a:bodyPr/>
          <a:lstStyle>
            <a:lvl1pPr algn="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/>
              <a:pPr/>
              <a:t>‹#›</a:t>
            </a:fld>
            <a:endParaRPr/>
          </a:p>
        </p:txBody>
      </p:sp>
      <p:pic>
        <p:nvPicPr>
          <p:cNvPr id="8" name="Picture 2" descr="D:\Users\krdoas\Desktop\ДЛЯ ПРЕЗЕНТАЦИЙ\15.03.2018 ППМИ\фон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 rot="16200000">
            <a:off x="8424089" y="6969394"/>
            <a:ext cx="5364088" cy="217173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799586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12192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sp>
        <p:nvSpPr>
          <p:cNvPr id="7" name="Овал 6"/>
          <p:cNvSpPr/>
          <p:nvPr userDrawn="1"/>
        </p:nvSpPr>
        <p:spPr>
          <a:xfrm>
            <a:off x="11472597" y="6381328"/>
            <a:ext cx="719403" cy="47667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84565" y="6448252"/>
            <a:ext cx="960107" cy="365125"/>
          </a:xfrm>
        </p:spPr>
        <p:txBody>
          <a:bodyPr/>
          <a:lstStyle>
            <a:lvl1pPr algn="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680497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srgbClr val="0070C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070C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B9A62-16D6-4FD5-82A8-C9C452ACBBAD}" type="slidenum">
              <a:rPr lang="ru-RU" smtClean="0">
                <a:solidFill>
                  <a:srgbClr val="0070C0">
                    <a:lumMod val="75000"/>
                  </a:srgbClr>
                </a:solidFill>
              </a:rPr>
              <a:pPr/>
              <a:t>‹#›</a:t>
            </a:fld>
            <a:endParaRPr lang="ru-RU">
              <a:solidFill>
                <a:srgbClr val="0070C0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32214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70C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0070C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347200" y="649287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 b="1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fld id="{26666E84-CA21-407A-9098-B0529236DD86}" type="slidenum">
              <a:rPr lang="ru-RU" smtClean="0">
                <a:solidFill>
                  <a:srgbClr val="0070C0">
                    <a:lumMod val="75000"/>
                  </a:srgbClr>
                </a:solidFill>
              </a:rPr>
              <a:pPr/>
              <a:t>‹#›</a:t>
            </a:fld>
            <a:endParaRPr lang="ru-RU">
              <a:solidFill>
                <a:srgbClr val="0070C0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123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90" r:id="rId13"/>
    <p:sldLayoutId id="2147483692" r:id="rId14"/>
    <p:sldLayoutId id="2147483701" r:id="rId15"/>
    <p:sldLayoutId id="2147483693" r:id="rId16"/>
    <p:sldLayoutId id="2147483700" r:id="rId17"/>
    <p:sldLayoutId id="2147483696" r:id="rId18"/>
    <p:sldLayoutId id="2147483694" r:id="rId19"/>
    <p:sldLayoutId id="2147483695" r:id="rId20"/>
    <p:sldLayoutId id="2147483698" r:id="rId21"/>
    <p:sldLayoutId id="2147483699" r:id="rId2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4.png"/><Relationship Id="rId5" Type="http://schemas.openxmlformats.org/officeDocument/2006/relationships/image" Target="../media/image33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12" Type="http://schemas.openxmlformats.org/officeDocument/2006/relationships/image" Target="../media/image60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4.png"/><Relationship Id="rId11" Type="http://schemas.openxmlformats.org/officeDocument/2006/relationships/image" Target="../media/image59.png"/><Relationship Id="rId5" Type="http://schemas.openxmlformats.org/officeDocument/2006/relationships/image" Target="../media/image53.png"/><Relationship Id="rId15" Type="http://schemas.openxmlformats.org/officeDocument/2006/relationships/image" Target="../media/image63.jpeg"/><Relationship Id="rId10" Type="http://schemas.openxmlformats.org/officeDocument/2006/relationships/image" Target="../media/image58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Relationship Id="rId14" Type="http://schemas.openxmlformats.org/officeDocument/2006/relationships/image" Target="../media/image6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1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74.jpeg"/><Relationship Id="rId4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9.png"/><Relationship Id="rId4" Type="http://schemas.openxmlformats.org/officeDocument/2006/relationships/image" Target="../media/image3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1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5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object 3"/>
          <p:cNvSpPr/>
          <p:nvPr/>
        </p:nvSpPr>
        <p:spPr>
          <a:xfrm>
            <a:off x="587624" y="3225310"/>
            <a:ext cx="1836000" cy="3886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99" name="TextBox 98"/>
          <p:cNvSpPr txBox="1"/>
          <p:nvPr/>
        </p:nvSpPr>
        <p:spPr>
          <a:xfrm>
            <a:off x="497117" y="3288389"/>
            <a:ext cx="4147457" cy="1177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700"/>
              </a:lnSpc>
            </a:pPr>
            <a:r>
              <a:rPr lang="ru-RU" sz="2800" b="1" dirty="0">
                <a:solidFill>
                  <a:srgbClr val="37ADE2"/>
                </a:solidFill>
              </a:rPr>
              <a:t>Аристов Сергей Юрьевич</a:t>
            </a:r>
          </a:p>
          <a:p>
            <a:r>
              <a:rPr lang="ru-RU" sz="1600" dirty="0">
                <a:solidFill>
                  <a:srgbClr val="494949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Заместитель директора</a:t>
            </a:r>
          </a:p>
          <a:p>
            <a:r>
              <a:rPr lang="ru-RU" sz="1600" dirty="0">
                <a:solidFill>
                  <a:srgbClr val="494949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ГКУ ДПО «Учебный центр министерства финансов Ставропольского края»</a:t>
            </a:r>
          </a:p>
        </p:txBody>
      </p:sp>
      <p:sp>
        <p:nvSpPr>
          <p:cNvPr id="100" name="Прямоугольник 9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2711" y="1629516"/>
            <a:ext cx="5615872" cy="1384995"/>
          </a:xfrm>
          <a:prstGeom prst="rect">
            <a:avLst/>
          </a:prstGeom>
          <a:noFill/>
          <a:ln w="19050">
            <a:noFill/>
            <a:prstDash val="dash"/>
            <a:miter lim="800000"/>
            <a:headEnd/>
            <a:tailEnd/>
          </a:ln>
        </p:spPr>
        <p:txBody>
          <a:bodyPr wrap="square" rIns="216000">
            <a:spAutoFit/>
          </a:bodyPr>
          <a:lstStyle/>
          <a:p>
            <a:r>
              <a:rPr lang="ru-RU" sz="2800" b="1" dirty="0">
                <a:solidFill>
                  <a:srgbClr val="494949"/>
                </a:solidFill>
                <a:latin typeface="Calibri" panose="020F0502020204030204" pitchFamily="34" charset="0"/>
              </a:rPr>
              <a:t>Консультационное сопровождение практик инициативного бюджетирования</a:t>
            </a:r>
            <a:endParaRPr lang="ru-RU" sz="2800" dirty="0">
              <a:solidFill>
                <a:srgbClr val="494949"/>
              </a:solidFill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939782" y="752563"/>
            <a:ext cx="5756443" cy="536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1" name="Прямоугольник 20"/>
          <p:cNvSpPr/>
          <p:nvPr/>
        </p:nvSpPr>
        <p:spPr>
          <a:xfrm>
            <a:off x="511525" y="261284"/>
            <a:ext cx="11168950" cy="415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8" name="Прямоугольник 127"/>
          <p:cNvSpPr/>
          <p:nvPr/>
        </p:nvSpPr>
        <p:spPr>
          <a:xfrm>
            <a:off x="511525" y="6220046"/>
            <a:ext cx="11168950" cy="4157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5165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38" y="271377"/>
            <a:ext cx="3011485" cy="1180501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3712104" y="205931"/>
            <a:ext cx="79032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2400" b="1" dirty="0" smtClean="0">
                <a:solidFill>
                  <a:srgbClr val="494949"/>
                </a:solidFill>
                <a:sym typeface="+mn-lt"/>
              </a:rPr>
              <a:t>ШКОЛА МЕСТНЫХ ИНИЦИАТИВ </a:t>
            </a:r>
          </a:p>
        </p:txBody>
      </p:sp>
      <p:sp>
        <p:nvSpPr>
          <p:cNvPr id="4" name="Text Box 9"/>
          <p:cNvSpPr txBox="1">
            <a:spLocks noChangeArrowheads="1"/>
          </p:cNvSpPr>
          <p:nvPr/>
        </p:nvSpPr>
        <p:spPr bwMode="auto">
          <a:xfrm>
            <a:off x="7236999" y="3823184"/>
            <a:ext cx="4320000" cy="312128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b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Содержание мест захоронения</a:t>
            </a:r>
          </a:p>
        </p:txBody>
      </p:sp>
      <p:pic>
        <p:nvPicPr>
          <p:cNvPr id="5" name="Picture 2" descr="https://image.freepik.com/free-icon/no-translate-detected_318-30209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33288" y="3705121"/>
            <a:ext cx="573481" cy="573481"/>
          </a:xfrm>
          <a:prstGeom prst="rect">
            <a:avLst/>
          </a:prstGeom>
          <a:noFill/>
          <a:effectLst>
            <a:outerShdw blurRad="50800" dist="38100" dir="2700000" algn="tl" rotWithShape="0">
              <a:srgbClr val="25A3E0">
                <a:alpha val="83000"/>
              </a:srgbClr>
            </a:outerShdw>
          </a:effectLst>
        </p:spPr>
      </p:pic>
      <p:grpSp>
        <p:nvGrpSpPr>
          <p:cNvPr id="6" name="Группа 5"/>
          <p:cNvGrpSpPr/>
          <p:nvPr/>
        </p:nvGrpSpPr>
        <p:grpSpPr>
          <a:xfrm>
            <a:off x="824300" y="1428844"/>
            <a:ext cx="5128017" cy="756080"/>
            <a:chOff x="820752" y="726888"/>
            <a:chExt cx="5128017" cy="756080"/>
          </a:xfrm>
        </p:grpSpPr>
        <p:sp>
          <p:nvSpPr>
            <p:cNvPr id="7" name="Text Box 9"/>
            <p:cNvSpPr txBox="1">
              <a:spLocks noChangeArrowheads="1"/>
            </p:cNvSpPr>
            <p:nvPr/>
          </p:nvSpPr>
          <p:spPr bwMode="auto">
            <a:xfrm>
              <a:off x="1736769" y="980291"/>
              <a:ext cx="4212000" cy="308690"/>
            </a:xfrm>
            <a:prstGeom prst="rect">
              <a:avLst/>
            </a:prstGeom>
            <a:noFill/>
            <a:ln w="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ru-RU"/>
              </a:defPPr>
              <a:lvl1pPr eaLnBrk="1" hangingPunct="1"/>
            </a:lstStyle>
            <a:p>
              <a:pPr>
                <a:spcBef>
                  <a:spcPct val="0"/>
                </a:spcBef>
              </a:pPr>
              <a:r>
                <a:rPr lang="ru-RU" altLang="ru-RU" b="1" dirty="0">
                  <a:solidFill>
                    <a:schemeClr val="tx1"/>
                  </a:solidFill>
                  <a:latin typeface="Times New Roman" panose="02020603050405020304" pitchFamily="18" charset="0"/>
                  <a:ea typeface="Times New Roman" panose="02020603050405020304" pitchFamily="18" charset="0"/>
                </a:rPr>
                <a:t>Ремонт объектов культуры</a:t>
              </a:r>
            </a:p>
          </p:txBody>
        </p:sp>
        <p:pic>
          <p:nvPicPr>
            <p:cNvPr id="8" name="Picture 4" descr="http://weclipart.com/gimg/C0172A75F456C826/theatre-512.pn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820752" y="726888"/>
              <a:ext cx="756080" cy="75608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srgbClr val="25A3E0">
                  <a:alpha val="83000"/>
                </a:srgbClr>
              </a:outerShdw>
            </a:effectLst>
          </p:spPr>
        </p:pic>
      </p:grpSp>
      <p:grpSp>
        <p:nvGrpSpPr>
          <p:cNvPr id="9" name="Группа 8"/>
          <p:cNvGrpSpPr/>
          <p:nvPr/>
        </p:nvGrpSpPr>
        <p:grpSpPr>
          <a:xfrm>
            <a:off x="887657" y="2250405"/>
            <a:ext cx="5064660" cy="586466"/>
            <a:chOff x="887657" y="1549264"/>
            <a:chExt cx="5064660" cy="586466"/>
          </a:xfrm>
        </p:grpSpPr>
        <p:sp>
          <p:nvSpPr>
            <p:cNvPr id="10" name="Text Box 9"/>
            <p:cNvSpPr txBox="1">
              <a:spLocks noChangeArrowheads="1"/>
            </p:cNvSpPr>
            <p:nvPr/>
          </p:nvSpPr>
          <p:spPr bwMode="auto">
            <a:xfrm>
              <a:off x="1740317" y="1555262"/>
              <a:ext cx="4212000" cy="580468"/>
            </a:xfrm>
            <a:prstGeom prst="rect">
              <a:avLst/>
            </a:prstGeom>
            <a:noFill/>
            <a:ln w="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ru-RU"/>
              </a:defPPr>
              <a:lvl1pPr eaLnBrk="1" hangingPunct="1"/>
            </a:lstStyle>
            <a:p>
              <a:pPr>
                <a:lnSpc>
                  <a:spcPts val="1800"/>
                </a:lnSpc>
                <a:spcBef>
                  <a:spcPct val="0"/>
                </a:spcBef>
              </a:pPr>
              <a:r>
                <a:rPr lang="ru-RU" altLang="ru-RU" b="1" dirty="0">
                  <a:solidFill>
                    <a:schemeClr val="tx1"/>
                  </a:solidFill>
                  <a:latin typeface="Times New Roman" panose="02020603050405020304" pitchFamily="18" charset="0"/>
                  <a:ea typeface="Times New Roman" panose="02020603050405020304" pitchFamily="18" charset="0"/>
                </a:rPr>
                <a:t>Обустройство мест массового </a:t>
              </a:r>
            </a:p>
            <a:p>
              <a:pPr>
                <a:lnSpc>
                  <a:spcPts val="1800"/>
                </a:lnSpc>
                <a:spcBef>
                  <a:spcPct val="0"/>
                </a:spcBef>
              </a:pPr>
              <a:r>
                <a:rPr lang="ru-RU" altLang="ru-RU" b="1" dirty="0">
                  <a:solidFill>
                    <a:schemeClr val="tx1"/>
                  </a:solidFill>
                  <a:latin typeface="Times New Roman" panose="02020603050405020304" pitchFamily="18" charset="0"/>
                  <a:ea typeface="Times New Roman" panose="02020603050405020304" pitchFamily="18" charset="0"/>
                </a:rPr>
                <a:t>отдыха населения</a:t>
              </a:r>
            </a:p>
          </p:txBody>
        </p:sp>
        <p:pic>
          <p:nvPicPr>
            <p:cNvPr id="11" name="Picture 6" descr="http://cdn.onlinewebfonts.com/svg/img_556078.pn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887657" y="1549264"/>
              <a:ext cx="537489" cy="55098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srgbClr val="9DB521">
                  <a:alpha val="83000"/>
                </a:srgbClr>
              </a:outerShdw>
            </a:effectLst>
          </p:spPr>
        </p:pic>
      </p:grpSp>
      <p:grpSp>
        <p:nvGrpSpPr>
          <p:cNvPr id="12" name="Группа 11"/>
          <p:cNvGrpSpPr/>
          <p:nvPr/>
        </p:nvGrpSpPr>
        <p:grpSpPr>
          <a:xfrm>
            <a:off x="887657" y="3034626"/>
            <a:ext cx="5078910" cy="583754"/>
            <a:chOff x="887657" y="2148606"/>
            <a:chExt cx="5078910" cy="583754"/>
          </a:xfrm>
        </p:grpSpPr>
        <p:sp>
          <p:nvSpPr>
            <p:cNvPr id="13" name="Text Box 9"/>
            <p:cNvSpPr txBox="1">
              <a:spLocks noChangeArrowheads="1"/>
            </p:cNvSpPr>
            <p:nvPr/>
          </p:nvSpPr>
          <p:spPr bwMode="auto">
            <a:xfrm>
              <a:off x="1754567" y="2168207"/>
              <a:ext cx="4212000" cy="564153"/>
            </a:xfrm>
            <a:prstGeom prst="rect">
              <a:avLst/>
            </a:prstGeom>
            <a:noFill/>
            <a:ln w="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lnSpc>
                  <a:spcPts val="1800"/>
                </a:lnSpc>
                <a:spcBef>
                  <a:spcPct val="0"/>
                </a:spcBef>
                <a:defRPr/>
              </a:pPr>
              <a:r>
                <a:rPr lang="ru-RU" altLang="ru-RU" b="1" dirty="0">
                  <a:solidFill>
                    <a:schemeClr val="tx1"/>
                  </a:solidFill>
                  <a:latin typeface="Times New Roman" panose="02020603050405020304" pitchFamily="18" charset="0"/>
                  <a:ea typeface="Times New Roman" panose="02020603050405020304" pitchFamily="18" charset="0"/>
                </a:rPr>
                <a:t>Организация библиотечного </a:t>
              </a:r>
            </a:p>
            <a:p>
              <a:pPr>
                <a:lnSpc>
                  <a:spcPts val="1800"/>
                </a:lnSpc>
                <a:spcBef>
                  <a:spcPct val="0"/>
                </a:spcBef>
                <a:defRPr/>
              </a:pPr>
              <a:r>
                <a:rPr lang="ru-RU" altLang="ru-RU" b="1" dirty="0">
                  <a:solidFill>
                    <a:schemeClr val="tx1"/>
                  </a:solidFill>
                  <a:latin typeface="Times New Roman" panose="02020603050405020304" pitchFamily="18" charset="0"/>
                  <a:ea typeface="Times New Roman" panose="02020603050405020304" pitchFamily="18" charset="0"/>
                </a:rPr>
                <a:t>обслуживания жителей</a:t>
              </a:r>
            </a:p>
          </p:txBody>
        </p:sp>
        <p:pic>
          <p:nvPicPr>
            <p:cNvPr id="14" name="Picture 8" descr="http://clipart-library.com/img/1716266.pn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887657" y="2148606"/>
              <a:ext cx="537489" cy="537489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srgbClr val="D74921">
                  <a:alpha val="83000"/>
                </a:srgbClr>
              </a:outerShdw>
            </a:effectLst>
          </p:spPr>
        </p:pic>
      </p:grpSp>
      <p:grpSp>
        <p:nvGrpSpPr>
          <p:cNvPr id="15" name="Группа 14"/>
          <p:cNvGrpSpPr/>
          <p:nvPr/>
        </p:nvGrpSpPr>
        <p:grpSpPr>
          <a:xfrm>
            <a:off x="848408" y="3765898"/>
            <a:ext cx="5103909" cy="474763"/>
            <a:chOff x="887657" y="2758839"/>
            <a:chExt cx="5103909" cy="474763"/>
          </a:xfrm>
        </p:grpSpPr>
        <p:sp>
          <p:nvSpPr>
            <p:cNvPr id="16" name="Text Box 9"/>
            <p:cNvSpPr txBox="1">
              <a:spLocks noChangeArrowheads="1"/>
            </p:cNvSpPr>
            <p:nvPr/>
          </p:nvSpPr>
          <p:spPr bwMode="auto">
            <a:xfrm>
              <a:off x="1779566" y="2860515"/>
              <a:ext cx="4212000" cy="362346"/>
            </a:xfrm>
            <a:prstGeom prst="rect">
              <a:avLst/>
            </a:prstGeom>
            <a:noFill/>
            <a:ln w="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en-US"/>
              </a:defPPr>
              <a:lvl1pPr>
                <a:defRPr b="1">
                  <a:solidFill>
                    <a:srgbClr val="003860"/>
                  </a:solidFill>
                  <a:ea typeface="宋体" panose="02010600030101010101" pitchFamily="2" charset="-122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1800"/>
                </a:lnSpc>
                <a:spcBef>
                  <a:spcPct val="0"/>
                </a:spcBef>
                <a:defRPr/>
              </a:pPr>
              <a:r>
                <a:rPr lang="ru-RU" altLang="ru-RU" dirty="0">
                  <a:solidFill>
                    <a:schemeClr val="tx1"/>
                  </a:solidFill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Дорожная деятельность</a:t>
              </a:r>
            </a:p>
          </p:txBody>
        </p:sp>
        <p:pic>
          <p:nvPicPr>
            <p:cNvPr id="17" name="Picture 10" descr="http://www.pvhc.net/img145/kdfomzdklxtxnarzkwsw.png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887657" y="2758839"/>
              <a:ext cx="546063" cy="474763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srgbClr val="25A3E0">
                  <a:alpha val="83000"/>
                </a:srgbClr>
              </a:outerShdw>
            </a:effectLst>
          </p:spPr>
        </p:pic>
      </p:grpSp>
      <p:grpSp>
        <p:nvGrpSpPr>
          <p:cNvPr id="18" name="Группа 17"/>
          <p:cNvGrpSpPr/>
          <p:nvPr/>
        </p:nvGrpSpPr>
        <p:grpSpPr>
          <a:xfrm>
            <a:off x="871241" y="5013690"/>
            <a:ext cx="5116864" cy="679820"/>
            <a:chOff x="887657" y="4044866"/>
            <a:chExt cx="5116864" cy="679820"/>
          </a:xfrm>
        </p:grpSpPr>
        <p:sp>
          <p:nvSpPr>
            <p:cNvPr id="19" name="Text Box 9"/>
            <p:cNvSpPr txBox="1">
              <a:spLocks noChangeArrowheads="1"/>
            </p:cNvSpPr>
            <p:nvPr/>
          </p:nvSpPr>
          <p:spPr bwMode="auto">
            <a:xfrm>
              <a:off x="1792521" y="4084413"/>
              <a:ext cx="4212000" cy="640273"/>
            </a:xfrm>
            <a:prstGeom prst="rect">
              <a:avLst/>
            </a:prstGeom>
            <a:noFill/>
            <a:ln w="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lnSpc>
                  <a:spcPts val="1800"/>
                </a:lnSpc>
                <a:spcBef>
                  <a:spcPct val="0"/>
                </a:spcBef>
                <a:defRPr/>
              </a:pPr>
              <a:r>
                <a:rPr lang="ru-RU" altLang="ru-RU" b="1" dirty="0">
                  <a:solidFill>
                    <a:schemeClr val="tx1"/>
                  </a:solidFill>
                  <a:latin typeface="Times New Roman" panose="02020603050405020304" pitchFamily="18" charset="0"/>
                  <a:ea typeface="Times New Roman" panose="02020603050405020304" pitchFamily="18" charset="0"/>
                </a:rPr>
                <a:t>Транспортное обслуживание населения</a:t>
              </a:r>
            </a:p>
          </p:txBody>
        </p:sp>
        <p:pic>
          <p:nvPicPr>
            <p:cNvPr id="20" name="Picture 14" descr="http://www.pvhc.net/img9/awukfnwmhrsklwmendxt.png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887657" y="4044866"/>
              <a:ext cx="637881" cy="63788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srgbClr val="D74921">
                  <a:alpha val="83000"/>
                </a:srgbClr>
              </a:outerShdw>
            </a:effectLst>
          </p:spPr>
        </p:pic>
      </p:grpSp>
      <p:sp>
        <p:nvSpPr>
          <p:cNvPr id="21" name="Text Box 9"/>
          <p:cNvSpPr txBox="1">
            <a:spLocks noChangeArrowheads="1"/>
          </p:cNvSpPr>
          <p:nvPr/>
        </p:nvSpPr>
        <p:spPr bwMode="auto">
          <a:xfrm>
            <a:off x="7251523" y="1619348"/>
            <a:ext cx="4320000" cy="375072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b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Обеспечение первичных мер </a:t>
            </a:r>
          </a:p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b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пожарной безопасности</a:t>
            </a:r>
          </a:p>
        </p:txBody>
      </p:sp>
      <p:pic>
        <p:nvPicPr>
          <p:cNvPr id="22" name="Picture 16" descr="https://image.freepik.com/free-icon/fire-extinguisher_318-42141.jp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24583" y="1527211"/>
            <a:ext cx="544989" cy="544989"/>
          </a:xfrm>
          <a:prstGeom prst="rect">
            <a:avLst/>
          </a:prstGeom>
          <a:noFill/>
          <a:effectLst>
            <a:outerShdw blurRad="50800" dist="38100" dir="2700000" algn="tl" rotWithShape="0">
              <a:srgbClr val="D74921">
                <a:alpha val="83000"/>
              </a:srgbClr>
            </a:outerShdw>
          </a:effectLst>
        </p:spPr>
      </p:pic>
      <p:sp>
        <p:nvSpPr>
          <p:cNvPr id="23" name="Text Box 9"/>
          <p:cNvSpPr txBox="1">
            <a:spLocks noChangeArrowheads="1"/>
          </p:cNvSpPr>
          <p:nvPr/>
        </p:nvSpPr>
        <p:spPr bwMode="auto">
          <a:xfrm>
            <a:off x="7251523" y="2379312"/>
            <a:ext cx="4320000" cy="373819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b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Обеспечение жителей услугами торговли и бытового обслуживания</a:t>
            </a:r>
          </a:p>
        </p:txBody>
      </p:sp>
      <p:pic>
        <p:nvPicPr>
          <p:cNvPr id="24" name="Picture 18" descr="https://bmbullet01.s3.eu-central-1.amazonaws.com/uploads/lp/9785573533116854a5a0d28489c432ce_2.png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370397" y="2259440"/>
            <a:ext cx="539563" cy="473495"/>
          </a:xfrm>
          <a:prstGeom prst="rect">
            <a:avLst/>
          </a:prstGeom>
          <a:noFill/>
          <a:effectLst>
            <a:outerShdw blurRad="50800" dist="38100" dir="2700000" algn="tl" rotWithShape="0">
              <a:srgbClr val="9DB521">
                <a:alpha val="83000"/>
              </a:srgbClr>
            </a:outerShdw>
          </a:effectLst>
        </p:spPr>
      </p:pic>
      <p:sp>
        <p:nvSpPr>
          <p:cNvPr id="25" name="Text Box 9"/>
          <p:cNvSpPr txBox="1">
            <a:spLocks noChangeArrowheads="1"/>
          </p:cNvSpPr>
          <p:nvPr/>
        </p:nvSpPr>
        <p:spPr bwMode="auto">
          <a:xfrm>
            <a:off x="7236999" y="4404538"/>
            <a:ext cx="4320000" cy="506597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b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Развитие местного традиционного народного художественного творчества</a:t>
            </a:r>
          </a:p>
        </p:txBody>
      </p:sp>
      <p:pic>
        <p:nvPicPr>
          <p:cNvPr id="26" name="Picture 20" descr="https://thumb7.shutterstock.com/display_pic_with_logo/3962204/500959351/stock-vector-illustration-of-russian-souvenir-doll-vector-eps-500959351.jp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47932" y="4392820"/>
            <a:ext cx="573481" cy="598970"/>
          </a:xfrm>
          <a:prstGeom prst="rect">
            <a:avLst/>
          </a:prstGeom>
          <a:noFill/>
          <a:effectLst>
            <a:outerShdw blurRad="50800" dist="38100" dir="2700000" algn="tl" rotWithShape="0">
              <a:srgbClr val="9DB521">
                <a:alpha val="83000"/>
              </a:srgbClr>
            </a:outerShdw>
          </a:effectLst>
        </p:spPr>
      </p:pic>
      <p:sp>
        <p:nvSpPr>
          <p:cNvPr id="27" name="Text Box 9"/>
          <p:cNvSpPr txBox="1">
            <a:spLocks noChangeArrowheads="1"/>
          </p:cNvSpPr>
          <p:nvPr/>
        </p:nvSpPr>
        <p:spPr bwMode="auto">
          <a:xfrm>
            <a:off x="7251523" y="3124345"/>
            <a:ext cx="4320000" cy="255415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ts val="1800"/>
              </a:lnSpc>
              <a:spcBef>
                <a:spcPct val="0"/>
              </a:spcBef>
              <a:defRPr/>
            </a:pPr>
            <a:r>
              <a:rPr lang="ru-RU" altLang="ru-RU" b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Сбор ТКО</a:t>
            </a:r>
          </a:p>
        </p:txBody>
      </p:sp>
      <p:pic>
        <p:nvPicPr>
          <p:cNvPr id="28" name="Picture 22" descr="http://iconsdig.com/images/original/20-Recycling-Bin-Icon-Vectors-%E2%80%93-Design-Blog-148592.jpg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399873" y="2935497"/>
            <a:ext cx="621540" cy="621540"/>
          </a:xfrm>
          <a:prstGeom prst="rect">
            <a:avLst/>
          </a:prstGeom>
          <a:noFill/>
          <a:effectLst>
            <a:outerShdw blurRad="50800" dist="38100" dir="2700000" algn="tl" rotWithShape="0">
              <a:srgbClr val="D74921">
                <a:alpha val="83000"/>
              </a:srgbClr>
            </a:outerShdw>
          </a:effectLst>
        </p:spPr>
      </p:pic>
      <p:grpSp>
        <p:nvGrpSpPr>
          <p:cNvPr id="29" name="Группа 28"/>
          <p:cNvGrpSpPr/>
          <p:nvPr/>
        </p:nvGrpSpPr>
        <p:grpSpPr>
          <a:xfrm>
            <a:off x="862658" y="4390044"/>
            <a:ext cx="5096987" cy="603464"/>
            <a:chOff x="887658" y="3331416"/>
            <a:chExt cx="5096987" cy="603464"/>
          </a:xfrm>
        </p:grpSpPr>
        <p:sp>
          <p:nvSpPr>
            <p:cNvPr id="30" name="Text Box 9"/>
            <p:cNvSpPr txBox="1">
              <a:spLocks noChangeArrowheads="1"/>
            </p:cNvSpPr>
            <p:nvPr/>
          </p:nvSpPr>
          <p:spPr bwMode="auto">
            <a:xfrm>
              <a:off x="1772645" y="3488779"/>
              <a:ext cx="4212000" cy="391845"/>
            </a:xfrm>
            <a:prstGeom prst="rect">
              <a:avLst/>
            </a:prstGeom>
            <a:noFill/>
            <a:ln w="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en-US"/>
              </a:defPPr>
              <a:lvl1pPr>
                <a:defRPr b="1">
                  <a:solidFill>
                    <a:srgbClr val="003860"/>
                  </a:solidFill>
                  <a:ea typeface="宋体" panose="02010600030101010101" pitchFamily="2" charset="-122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1800"/>
                </a:lnSpc>
                <a:spcBef>
                  <a:spcPct val="0"/>
                </a:spcBef>
                <a:defRPr/>
              </a:pPr>
              <a:r>
                <a:rPr lang="ru-RU" altLang="ru-RU" dirty="0">
                  <a:solidFill>
                    <a:schemeClr val="tx1"/>
                  </a:solidFill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Благоустройство территории </a:t>
              </a:r>
            </a:p>
            <a:p>
              <a:pPr>
                <a:lnSpc>
                  <a:spcPts val="1800"/>
                </a:lnSpc>
                <a:spcBef>
                  <a:spcPct val="0"/>
                </a:spcBef>
                <a:defRPr/>
              </a:pPr>
              <a:r>
                <a:rPr lang="ru-RU" altLang="ru-RU" dirty="0">
                  <a:solidFill>
                    <a:schemeClr val="tx1"/>
                  </a:solidFill>
                  <a:latin typeface="Times New Roman" panose="02020603050405020304" pitchFamily="18" charset="0"/>
                  <a:ea typeface="Times New Roman" panose="02020603050405020304" pitchFamily="18" charset="0"/>
                  <a:cs typeface="+mn-cs"/>
                </a:rPr>
                <a:t>населенных пунктов</a:t>
              </a:r>
            </a:p>
          </p:txBody>
        </p:sp>
        <p:pic>
          <p:nvPicPr>
            <p:cNvPr id="31" name="Picture 24" descr="https://image.freepik.com/free-icon/no-translate-detected_318-56717.jpg"/>
            <p:cNvPicPr>
              <a:picLocks noChangeAspect="1" noChangeArrowheads="1"/>
            </p:cNvPicPr>
            <p:nvPr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887658" y="3331416"/>
              <a:ext cx="603464" cy="603464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srgbClr val="9DB521">
                  <a:alpha val="83000"/>
                </a:srgbClr>
              </a:outerShdw>
            </a:effectLst>
          </p:spPr>
        </p:pic>
      </p:grpSp>
      <p:sp>
        <p:nvSpPr>
          <p:cNvPr id="32" name="Прямоугольник 31"/>
          <p:cNvSpPr/>
          <p:nvPr/>
        </p:nvSpPr>
        <p:spPr>
          <a:xfrm>
            <a:off x="2743347" y="708698"/>
            <a:ext cx="89567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2400" b="1" dirty="0" smtClean="0">
                <a:solidFill>
                  <a:srgbClr val="274255"/>
                </a:solidFill>
                <a:latin typeface="Calibri" panose="020F0502020204030204" pitchFamily="34" charset="0"/>
              </a:rPr>
              <a:t>Направления реализации проектов</a:t>
            </a:r>
            <a:endParaRPr lang="ru-RU" altLang="ru-RU" sz="2400" b="1" dirty="0">
              <a:solidFill>
                <a:srgbClr val="274255"/>
              </a:solidFill>
              <a:latin typeface="Calibri" panose="020F0502020204030204" pitchFamily="34" charset="0"/>
            </a:endParaRPr>
          </a:p>
        </p:txBody>
      </p:sp>
      <p:sp>
        <p:nvSpPr>
          <p:cNvPr id="33" name="Text Box 9"/>
          <p:cNvSpPr txBox="1">
            <a:spLocks noChangeArrowheads="1"/>
          </p:cNvSpPr>
          <p:nvPr/>
        </p:nvSpPr>
        <p:spPr bwMode="auto">
          <a:xfrm>
            <a:off x="7212560" y="5163249"/>
            <a:ext cx="4940477" cy="504056"/>
          </a:xfrm>
          <a:prstGeom prst="rect">
            <a:avLst/>
          </a:prstGeom>
          <a:noFill/>
          <a:ln w="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ru-RU" altLang="ru-RU" b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Сохранение, использование и популяризация объектов культурного наследия, их охрана</a:t>
            </a: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14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0782" y="5120650"/>
            <a:ext cx="641007" cy="606358"/>
          </a:xfrm>
          <a:prstGeom prst="rect">
            <a:avLst/>
          </a:prstGeom>
        </p:spPr>
      </p:pic>
      <p:sp>
        <p:nvSpPr>
          <p:cNvPr id="35" name="Text Box 9"/>
          <p:cNvSpPr txBox="1">
            <a:spLocks noChangeArrowheads="1"/>
          </p:cNvSpPr>
          <p:nvPr/>
        </p:nvSpPr>
        <p:spPr bwMode="auto">
          <a:xfrm>
            <a:off x="1749383" y="6091293"/>
            <a:ext cx="9544252" cy="730627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ru-RU" altLang="ru-RU" b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За исключением мероприятий по строительству объектов капитального строительства и приобретению объектов недвижимого имущества в муниципальную собственность</a:t>
            </a:r>
          </a:p>
        </p:txBody>
      </p:sp>
      <p:sp>
        <p:nvSpPr>
          <p:cNvPr id="36" name="Oval 10"/>
          <p:cNvSpPr>
            <a:spLocks noChangeArrowheads="1"/>
          </p:cNvSpPr>
          <p:nvPr/>
        </p:nvSpPr>
        <p:spPr bwMode="auto">
          <a:xfrm>
            <a:off x="1077542" y="6078840"/>
            <a:ext cx="678517" cy="680356"/>
          </a:xfrm>
          <a:prstGeom prst="ellipse">
            <a:avLst/>
          </a:prstGeom>
          <a:solidFill>
            <a:srgbClr val="9DB521"/>
          </a:solidFill>
          <a:ln>
            <a:noFill/>
          </a:ln>
        </p:spPr>
        <p:txBody>
          <a:bodyPr anchor="ctr"/>
          <a:lstStyle>
            <a:lvl1pPr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108902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1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en-US" sz="1799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grpSp>
        <p:nvGrpSpPr>
          <p:cNvPr id="37" name="组合 114"/>
          <p:cNvGrpSpPr/>
          <p:nvPr/>
        </p:nvGrpSpPr>
        <p:grpSpPr>
          <a:xfrm>
            <a:off x="1150052" y="6161105"/>
            <a:ext cx="503750" cy="494049"/>
            <a:chOff x="304800" y="673100"/>
            <a:chExt cx="4000500" cy="4000500"/>
          </a:xfrm>
          <a:effectLst>
            <a:outerShdw blurRad="317500" dist="1905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38" name="同心圆 115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9" name="椭圆 116"/>
            <p:cNvSpPr/>
            <p:nvPr/>
          </p:nvSpPr>
          <p:spPr>
            <a:xfrm>
              <a:off x="392116" y="760414"/>
              <a:ext cx="3825876" cy="382588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pic>
        <p:nvPicPr>
          <p:cNvPr id="40" name="Picture 2" descr="https://www.fd.ru/images/articles/2017-07-18/bigstock__d_red_exclamation_mark_on_whi_18984152-1.jpg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266623" y="6192070"/>
            <a:ext cx="322775" cy="429828"/>
          </a:xfrm>
          <a:prstGeom prst="rect">
            <a:avLst/>
          </a:prstGeom>
          <a:noFill/>
        </p:spPr>
      </p:pic>
      <p:sp>
        <p:nvSpPr>
          <p:cNvPr id="41" name="Скругленный прямоугольник 40"/>
          <p:cNvSpPr/>
          <p:nvPr/>
        </p:nvSpPr>
        <p:spPr>
          <a:xfrm>
            <a:off x="973014" y="5913147"/>
            <a:ext cx="10583985" cy="1085935"/>
          </a:xfrm>
          <a:prstGeom prst="roundRect">
            <a:avLst/>
          </a:prstGeom>
          <a:noFill/>
          <a:ln w="158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24A5A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082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38" y="271377"/>
            <a:ext cx="3011485" cy="1180501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3712104" y="205931"/>
            <a:ext cx="79032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2400" b="1" dirty="0" smtClean="0">
                <a:solidFill>
                  <a:srgbClr val="494949"/>
                </a:solidFill>
                <a:sym typeface="+mn-lt"/>
              </a:rPr>
              <a:t>ШКОЛА МЕСТНЫХ ИНИЦИАТИВ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904613" y="720579"/>
            <a:ext cx="976064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400" b="1" dirty="0">
                <a:solidFill>
                  <a:srgbClr val="274255"/>
                </a:solidFill>
                <a:latin typeface="Calibri" panose="020F0502020204030204" pitchFamily="34" charset="0"/>
              </a:rPr>
              <a:t>Инициативный проект должен </a:t>
            </a:r>
            <a:endParaRPr lang="ru-RU" sz="2400" b="1" dirty="0">
              <a:solidFill>
                <a:srgbClr val="274255"/>
              </a:solidFill>
              <a:latin typeface="Calibri" panose="020F0502020204030204" pitchFamily="34" charset="0"/>
            </a:endParaRPr>
          </a:p>
          <a:p>
            <a:pPr algn="r"/>
            <a:r>
              <a:rPr lang="ru-RU" sz="2400" b="1" dirty="0">
                <a:solidFill>
                  <a:srgbClr val="274255"/>
                </a:solidFill>
                <a:latin typeface="Calibri" panose="020F0502020204030204" pitchFamily="34" charset="0"/>
              </a:rPr>
              <a:t>содержать </a:t>
            </a:r>
            <a:r>
              <a:rPr lang="ru-RU" sz="2400" b="1" dirty="0">
                <a:solidFill>
                  <a:srgbClr val="274255"/>
                </a:solidFill>
                <a:latin typeface="Calibri" panose="020F0502020204030204" pitchFamily="34" charset="0"/>
              </a:rPr>
              <a:t>в себе следующие </a:t>
            </a:r>
            <a:r>
              <a:rPr lang="ru-RU" sz="2400" b="1" dirty="0">
                <a:solidFill>
                  <a:srgbClr val="274255"/>
                </a:solidFill>
                <a:latin typeface="Calibri" panose="020F0502020204030204" pitchFamily="34" charset="0"/>
              </a:rPr>
              <a:t>сведения:</a:t>
            </a:r>
            <a:endParaRPr lang="en-US" sz="2400" b="1" dirty="0">
              <a:solidFill>
                <a:srgbClr val="274255"/>
              </a:solidFill>
              <a:latin typeface="Calibri" panose="020F0502020204030204" pitchFamily="34" charset="0"/>
              <a:sym typeface="微软雅黑" panose="020B0503020204020204" pitchFamily="34" charset="-122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551" b="11592"/>
          <a:stretch/>
        </p:blipFill>
        <p:spPr>
          <a:xfrm>
            <a:off x="10806297" y="3319441"/>
            <a:ext cx="337945" cy="37240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551" b="11592"/>
          <a:stretch/>
        </p:blipFill>
        <p:spPr>
          <a:xfrm>
            <a:off x="2234827" y="5992620"/>
            <a:ext cx="337945" cy="372409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242047" y="1679783"/>
            <a:ext cx="8073953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spcAft>
                <a:spcPts val="0"/>
              </a:spcAft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Инициативный проект должен содержать в себе следующие сведения:</a:t>
            </a:r>
            <a:endParaRPr lang="ru-RU" sz="14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1)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описание проблемы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, решение которой имеет приоритетное значение для жителей муниципального образования или его части;</a:t>
            </a:r>
            <a:endParaRPr lang="ru-RU" sz="14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2)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обоснование предложений 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о решению указанной проблемы;</a:t>
            </a:r>
            <a:endParaRPr lang="ru-RU" sz="14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3)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описание ожидаемого результата 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реализации инициативного проекта;</a:t>
            </a:r>
            <a:endParaRPr lang="ru-RU" sz="14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4)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редварительный расчет необходимых расходов 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на реализацию инициативного проекта;</a:t>
            </a:r>
            <a:endParaRPr lang="ru-RU" sz="14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5) планируемые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сроки реализации 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инициативного проекта;</a:t>
            </a:r>
            <a:endParaRPr lang="ru-RU" sz="14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6)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сведения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о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 планируемом (возможном)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финансовом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,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имущественном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 и (или)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рудовом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участии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 заинтересованных лиц в реализации данного проекта;</a:t>
            </a:r>
            <a:endParaRPr lang="ru-RU" sz="14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7) указание на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объем средств местного бюджета 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в случае,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если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редполагается использование этих средств 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на реализацию инициативного проекта;</a:t>
            </a:r>
            <a:endParaRPr lang="ru-RU" sz="14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8)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указание на территорию 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муниципального образования или его часть,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в границах которой будет реализовываться инициативный проект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;</a:t>
            </a:r>
            <a:endParaRPr lang="ru-RU" sz="14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9)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иные сведения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,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редусмотренные нормативным правовым актом 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редставительного органа муниципального образования.</a:t>
            </a:r>
            <a:endParaRPr lang="ru-RU" sz="14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16000" y="2035668"/>
            <a:ext cx="3730592" cy="444603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551" b="11592"/>
          <a:stretch/>
        </p:blipFill>
        <p:spPr>
          <a:xfrm>
            <a:off x="11195940" y="6045281"/>
            <a:ext cx="337945" cy="372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797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38" y="271377"/>
            <a:ext cx="3011485" cy="1180501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3712104" y="205931"/>
            <a:ext cx="79032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2400" b="1" dirty="0" smtClean="0">
                <a:solidFill>
                  <a:srgbClr val="494949"/>
                </a:solidFill>
                <a:sym typeface="+mn-lt"/>
              </a:rPr>
              <a:t>ШКОЛА МЕСТНЫХ ИНИЦИАТИВ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252151" y="2250087"/>
            <a:ext cx="69527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spcAft>
                <a:spcPts val="0"/>
              </a:spcAft>
            </a:pPr>
            <a:r>
              <a:rPr lang="ru-RU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Инициативный 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роект вносится в местную администрацию, где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формируется портфель инициативных проектов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. </a:t>
            </a:r>
            <a:endParaRPr lang="ru-RU" dirty="0" smtClean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191313" y="3707738"/>
            <a:ext cx="695273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spcAft>
                <a:spcPts val="0"/>
              </a:spcAft>
            </a:pPr>
            <a:r>
              <a:rPr lang="ru-RU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Местная 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администрация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убликует информацию о </a:t>
            </a:r>
            <a:r>
              <a:rPr lang="ru-RU" b="1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проведении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собрания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 или 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  <a:cs typeface="Calibri" panose="020F0502020204030204" pitchFamily="34" charset="0"/>
              </a:rPr>
              <a:t>собраний граждан для </a:t>
            </a:r>
            <a:r>
              <a:rPr lang="ru-RU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определения наиболее значимого предложения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341020" y="5316947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450215" algn="just">
              <a:spcAft>
                <a:spcPts val="0"/>
              </a:spcAft>
            </a:pP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В ходе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собрания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 проходит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обсуждение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 инициативных проектов и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голосование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 участников собрания, целью которого является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отбор инициативного проекта для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 его 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направления на конкурсный отбор 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инициативных проектов, проводимый </a:t>
            </a:r>
            <a:r>
              <a:rPr lang="ru-RU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минфином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 края. </a:t>
            </a:r>
            <a:endParaRPr lang="ru-RU" sz="1400" dirty="0"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13969" y="1726354"/>
            <a:ext cx="2008930" cy="200893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27226" y="3120560"/>
            <a:ext cx="1955005" cy="1955005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04887" y="4592186"/>
            <a:ext cx="2290119" cy="2290119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2743347" y="708698"/>
            <a:ext cx="89567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2400" b="1" dirty="0" smtClean="0">
                <a:solidFill>
                  <a:srgbClr val="274255"/>
                </a:solidFill>
                <a:latin typeface="Calibri" panose="020F0502020204030204" pitchFamily="34" charset="0"/>
              </a:rPr>
              <a:t>Порядок внесения инициативного проекта</a:t>
            </a:r>
            <a:endParaRPr lang="ru-RU" altLang="ru-RU" sz="2400" b="1" dirty="0">
              <a:solidFill>
                <a:srgbClr val="274255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6400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38" y="271377"/>
            <a:ext cx="3011485" cy="1180501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3712104" y="205931"/>
            <a:ext cx="79032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2400" b="1" dirty="0" smtClean="0">
                <a:solidFill>
                  <a:srgbClr val="494949"/>
                </a:solidFill>
                <a:sym typeface="+mn-lt"/>
              </a:rPr>
              <a:t>ШКОЛА МЕСТНЫХ ИНИЦИАТИВ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095633" y="2155660"/>
            <a:ext cx="6096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         Подготовка 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проекта осуществляется местной администрацией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</a:rPr>
              <a:t>при поддержке инициативной </a:t>
            </a: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группы</a:t>
            </a: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, которая оказывает 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помощь представителям местной администрации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</a:rPr>
              <a:t>путем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</a:rPr>
              <a:t>формирования списков граждан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, готовых </a:t>
            </a:r>
            <a:r>
              <a:rPr lang="ru-RU" dirty="0" err="1">
                <a:latin typeface="Times New Roman" panose="02020603050405020304" pitchFamily="18" charset="0"/>
                <a:ea typeface="Calibri" panose="020F0502020204030204" pitchFamily="34" charset="0"/>
              </a:rPr>
              <a:t>софинансировать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 проект или участвовать в его реализации безвозмездным трудом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893276" y="4921304"/>
            <a:ext cx="6096000" cy="685059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450215" algn="just">
              <a:lnSpc>
                <a:spcPct val="107000"/>
              </a:lnSpc>
              <a:spcAft>
                <a:spcPts val="0"/>
              </a:spcAft>
            </a:pP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частвовать</a:t>
            </a: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в 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зработке дизайна проекта, следить за работами на объекте и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нтролировать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их качество.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5859" y="1855461"/>
            <a:ext cx="2875005" cy="287500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8293" y="4036026"/>
            <a:ext cx="2627870" cy="2627870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1904613" y="720579"/>
            <a:ext cx="976064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400" b="1" dirty="0">
                <a:solidFill>
                  <a:srgbClr val="274255"/>
                </a:solidFill>
                <a:latin typeface="Calibri" panose="020F0502020204030204" pitchFamily="34" charset="0"/>
              </a:rPr>
              <a:t>Что еще можно сделать для проекта </a:t>
            </a:r>
            <a:endParaRPr lang="ru-RU" sz="2400" b="1" dirty="0" smtClean="0">
              <a:solidFill>
                <a:srgbClr val="274255"/>
              </a:solidFill>
              <a:latin typeface="Calibri" panose="020F0502020204030204" pitchFamily="34" charset="0"/>
            </a:endParaRPr>
          </a:p>
          <a:p>
            <a:pPr algn="r"/>
            <a:r>
              <a:rPr lang="ru-RU" sz="2400" b="1" dirty="0" smtClean="0">
                <a:solidFill>
                  <a:srgbClr val="274255"/>
                </a:solidFill>
                <a:latin typeface="Calibri" panose="020F0502020204030204" pitchFamily="34" charset="0"/>
              </a:rPr>
              <a:t>в </a:t>
            </a:r>
            <a:r>
              <a:rPr lang="ru-RU" sz="2400" b="1" dirty="0">
                <a:solidFill>
                  <a:srgbClr val="274255"/>
                </a:solidFill>
                <a:latin typeface="Calibri" panose="020F0502020204030204" pitchFamily="34" charset="0"/>
              </a:rPr>
              <a:t>составе инициативной </a:t>
            </a:r>
            <a:r>
              <a:rPr lang="ru-RU" sz="2400" b="1" dirty="0" smtClean="0">
                <a:solidFill>
                  <a:srgbClr val="274255"/>
                </a:solidFill>
                <a:latin typeface="Calibri" panose="020F0502020204030204" pitchFamily="34" charset="0"/>
              </a:rPr>
              <a:t>группы:</a:t>
            </a:r>
            <a:endParaRPr lang="en-US" sz="2400" b="1" dirty="0">
              <a:solidFill>
                <a:srgbClr val="274255"/>
              </a:solidFill>
              <a:latin typeface="Calibri" panose="020F0502020204030204" pitchFamily="34" charset="0"/>
              <a:sym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83530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38" y="271377"/>
            <a:ext cx="3011485" cy="1180501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3712104" y="205931"/>
            <a:ext cx="79032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2400" b="1" dirty="0" smtClean="0">
                <a:solidFill>
                  <a:srgbClr val="494949"/>
                </a:solidFill>
                <a:sym typeface="+mn-lt"/>
              </a:rPr>
              <a:t>ШКОЛА МЕСТНЫХ ИНИЦИАТИВ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2905" y="861627"/>
            <a:ext cx="5038165" cy="3778624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9189" y="2447364"/>
            <a:ext cx="4966447" cy="3724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605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Рисунок 5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38" y="4068488"/>
            <a:ext cx="4400089" cy="2772441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509" y="1559859"/>
            <a:ext cx="3792072" cy="2528048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38" y="271377"/>
            <a:ext cx="3011485" cy="1180501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3712104" y="205931"/>
            <a:ext cx="79032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2400" b="1" dirty="0">
                <a:solidFill>
                  <a:srgbClr val="494949"/>
                </a:solidFill>
                <a:sym typeface="+mn-lt"/>
              </a:rPr>
              <a:t>ФИРМЕННЫЙ СТИЛЬ ПРОГРАММЫ</a:t>
            </a:r>
            <a:endParaRPr lang="ru-RU" altLang="ru-RU" sz="2400" b="1" dirty="0">
              <a:solidFill>
                <a:srgbClr val="494949"/>
              </a:solidFill>
              <a:sym typeface="+mn-lt"/>
            </a:endParaRPr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0755" y="1054272"/>
            <a:ext cx="7557025" cy="5039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721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38" y="271377"/>
            <a:ext cx="3011485" cy="1180501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3712104" y="205931"/>
            <a:ext cx="79032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2400" b="1" dirty="0">
                <a:solidFill>
                  <a:srgbClr val="494949"/>
                </a:solidFill>
                <a:sym typeface="+mn-lt"/>
              </a:rPr>
              <a:t>САЙТ ПРОГРАММЫ</a:t>
            </a:r>
            <a:endParaRPr lang="ru-RU" altLang="ru-RU" sz="2400" b="1" dirty="0">
              <a:solidFill>
                <a:srgbClr val="494949"/>
              </a:solidFill>
              <a:sym typeface="+mn-lt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823318"/>
            <a:ext cx="9144000" cy="4295128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5174594" y="936796"/>
            <a:ext cx="288032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6000" dirty="0">
                <a:solidFill>
                  <a:schemeClr val="dk1"/>
                </a:solidFill>
              </a:rPr>
              <a:t>pmisk.ru</a:t>
            </a:r>
            <a:endParaRPr lang="ru-RU" sz="60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575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524000" y="0"/>
            <a:ext cx="9180000" cy="25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1524001" y="3357564"/>
            <a:ext cx="9144001" cy="284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ru-RU"/>
            </a:defPPr>
            <a:lvl1pPr eaLnBrk="1" hangingPunct="1">
              <a:lnSpc>
                <a:spcPts val="1500"/>
              </a:lnSpc>
              <a:buFontTx/>
              <a:buNone/>
              <a:defRPr sz="1600" b="1">
                <a:solidFill>
                  <a:schemeClr val="tx1">
                    <a:lumMod val="50000"/>
                  </a:schemeClr>
                </a:solidFill>
                <a:latin typeface="Candara" pitchFamily="34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</a:defRPr>
            </a:lvl9pPr>
          </a:lstStyle>
          <a:p>
            <a:pPr algn="ctr"/>
            <a:r>
              <a:rPr lang="ru-RU" sz="4400" dirty="0"/>
              <a:t>Благодарю за внимание!</a:t>
            </a:r>
          </a:p>
        </p:txBody>
      </p:sp>
      <p:sp>
        <p:nvSpPr>
          <p:cNvPr id="6" name="TextBox 7"/>
          <p:cNvSpPr txBox="1">
            <a:spLocks noChangeArrowheads="1"/>
          </p:cNvSpPr>
          <p:nvPr/>
        </p:nvSpPr>
        <p:spPr bwMode="auto">
          <a:xfrm>
            <a:off x="1847851" y="4509120"/>
            <a:ext cx="4968875" cy="915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ts val="1600"/>
              </a:lnSpc>
              <a:spcBef>
                <a:spcPct val="0"/>
              </a:spcBef>
              <a:buNone/>
            </a:pPr>
            <a:endParaRPr lang="ru-RU" altLang="ru-RU" sz="1600" b="1" dirty="0">
              <a:solidFill>
                <a:schemeClr val="tx1">
                  <a:lumMod val="50000"/>
                </a:schemeClr>
              </a:solidFill>
              <a:latin typeface="Candara" pitchFamily="34" charset="0"/>
              <a:cs typeface="Times New Roman" panose="02020603050405020304" pitchFamily="18" charset="0"/>
            </a:endParaRPr>
          </a:p>
          <a:p>
            <a:pPr>
              <a:lnSpc>
                <a:spcPts val="1600"/>
              </a:lnSpc>
              <a:spcBef>
                <a:spcPct val="0"/>
              </a:spcBef>
              <a:buNone/>
            </a:pPr>
            <a:r>
              <a:rPr lang="ru-RU" altLang="ru-RU" sz="1600" b="1" dirty="0">
                <a:solidFill>
                  <a:schemeClr val="tx1">
                    <a:lumMod val="50000"/>
                  </a:schemeClr>
                </a:solidFill>
                <a:latin typeface="Candara" pitchFamily="34" charset="0"/>
                <a:cs typeface="Times New Roman" panose="02020603050405020304" pitchFamily="18" charset="0"/>
              </a:rPr>
              <a:t>Заместитель директора </a:t>
            </a:r>
            <a:endParaRPr lang="ru-RU" altLang="ru-RU" sz="1600" b="1" dirty="0">
              <a:solidFill>
                <a:schemeClr val="tx1">
                  <a:lumMod val="50000"/>
                </a:schemeClr>
              </a:solidFill>
              <a:latin typeface="Candara" pitchFamily="34" charset="0"/>
              <a:cs typeface="Times New Roman" panose="02020603050405020304" pitchFamily="18" charset="0"/>
            </a:endParaRPr>
          </a:p>
          <a:p>
            <a:pPr>
              <a:lnSpc>
                <a:spcPts val="1600"/>
              </a:lnSpc>
              <a:spcBef>
                <a:spcPct val="0"/>
              </a:spcBef>
              <a:buNone/>
            </a:pPr>
            <a:r>
              <a:rPr lang="ru-RU" altLang="ru-RU" sz="1600" b="1" dirty="0">
                <a:solidFill>
                  <a:schemeClr val="tx1">
                    <a:lumMod val="50000"/>
                  </a:schemeClr>
                </a:solidFill>
                <a:latin typeface="Candara" pitchFamily="34" charset="0"/>
                <a:cs typeface="Times New Roman" panose="02020603050405020304" pitchFamily="18" charset="0"/>
              </a:rPr>
              <a:t>ГКУ ДПО «Учебный центр министерства финансов Ставропольского края»</a:t>
            </a:r>
          </a:p>
        </p:txBody>
      </p:sp>
      <p:sp>
        <p:nvSpPr>
          <p:cNvPr id="7" name="TextBox 8"/>
          <p:cNvSpPr txBox="1">
            <a:spLocks noChangeArrowheads="1"/>
          </p:cNvSpPr>
          <p:nvPr/>
        </p:nvSpPr>
        <p:spPr bwMode="auto">
          <a:xfrm>
            <a:off x="1847850" y="4244264"/>
            <a:ext cx="3455988" cy="29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ts val="1500"/>
              </a:lnSpc>
              <a:spcBef>
                <a:spcPct val="0"/>
              </a:spcBef>
              <a:buNone/>
              <a:defRPr/>
            </a:pPr>
            <a:r>
              <a:rPr lang="ru-RU" altLang="ru-RU" sz="1600" b="1" dirty="0">
                <a:solidFill>
                  <a:schemeClr val="tx1">
                    <a:lumMod val="50000"/>
                  </a:schemeClr>
                </a:solidFill>
                <a:latin typeface="Candara" pitchFamily="34" charset="0"/>
                <a:cs typeface="Times New Roman" panose="02020603050405020304" pitchFamily="18" charset="0"/>
              </a:rPr>
              <a:t>Аристов Сергей Юрьевич </a:t>
            </a:r>
            <a:endParaRPr lang="ru-RU" altLang="ru-RU" sz="1600" b="1" dirty="0">
              <a:solidFill>
                <a:schemeClr val="tx1">
                  <a:lumMod val="50000"/>
                </a:schemeClr>
              </a:solidFill>
              <a:latin typeface="Candara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1847529" y="5426651"/>
            <a:ext cx="4968875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ts val="1600"/>
              </a:lnSpc>
              <a:spcBef>
                <a:spcPct val="0"/>
              </a:spcBef>
              <a:buNone/>
            </a:pPr>
            <a:r>
              <a:rPr lang="ru-RU" altLang="ru-RU" sz="1600" b="1" dirty="0">
                <a:solidFill>
                  <a:schemeClr val="tx1">
                    <a:lumMod val="50000"/>
                  </a:schemeClr>
                </a:solidFill>
                <a:latin typeface="Candara" pitchFamily="34" charset="0"/>
                <a:cs typeface="Times New Roman" panose="02020603050405020304" pitchFamily="18" charset="0"/>
              </a:rPr>
              <a:t>Тел.: (8652) 99-26-80</a:t>
            </a:r>
          </a:p>
          <a:p>
            <a:pPr>
              <a:lnSpc>
                <a:spcPts val="1600"/>
              </a:lnSpc>
              <a:spcBef>
                <a:spcPct val="0"/>
              </a:spcBef>
              <a:buNone/>
            </a:pPr>
            <a:r>
              <a:rPr lang="en-US" altLang="ru-RU" sz="1600" b="1" dirty="0">
                <a:solidFill>
                  <a:schemeClr val="tx1">
                    <a:lumMod val="50000"/>
                  </a:schemeClr>
                </a:solidFill>
                <a:latin typeface="Candara" pitchFamily="34" charset="0"/>
                <a:cs typeface="Times New Roman" panose="02020603050405020304" pitchFamily="18" charset="0"/>
              </a:rPr>
              <a:t>E-mail: </a:t>
            </a:r>
            <a:r>
              <a:rPr lang="ru-RU" altLang="ru-RU" sz="1600" b="1" dirty="0">
                <a:solidFill>
                  <a:schemeClr val="tx1">
                    <a:lumMod val="50000"/>
                  </a:schemeClr>
                </a:solidFill>
                <a:latin typeface="Candara" pitchFamily="34" charset="0"/>
                <a:cs typeface="Times New Roman" panose="02020603050405020304" pitchFamily="18" charset="0"/>
              </a:rPr>
              <a:t>aristov@mfsk.ru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3340" y="260649"/>
            <a:ext cx="5960973" cy="2336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418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38" y="271377"/>
            <a:ext cx="3011485" cy="1180501"/>
          </a:xfrm>
          <a:prstGeom prst="rect">
            <a:avLst/>
          </a:prstGeom>
        </p:spPr>
      </p:pic>
      <p:sp>
        <p:nvSpPr>
          <p:cNvPr id="7" name="Овал 6"/>
          <p:cNvSpPr/>
          <p:nvPr/>
        </p:nvSpPr>
        <p:spPr>
          <a:xfrm>
            <a:off x="7032104" y="4219344"/>
            <a:ext cx="3419872" cy="1540308"/>
          </a:xfrm>
          <a:prstGeom prst="ellipse">
            <a:avLst/>
          </a:prstGeom>
          <a:solidFill>
            <a:schemeClr val="accent6">
              <a:lumMod val="20000"/>
              <a:lumOff val="80000"/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5015880" y="1195008"/>
            <a:ext cx="6228184" cy="3411246"/>
          </a:xfrm>
          <a:prstGeom prst="ellipse">
            <a:avLst/>
          </a:prstGeom>
          <a:solidFill>
            <a:schemeClr val="tx2">
              <a:lumMod val="20000"/>
              <a:lumOff val="80000"/>
              <a:alpha val="36000"/>
            </a:schemeClr>
          </a:solidFill>
          <a:ln w="698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5340618" y="1857500"/>
            <a:ext cx="4878888" cy="35139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algn="just">
              <a:defRPr/>
            </a:pPr>
            <a:r>
              <a:rPr lang="ru-RU" sz="2000" b="1" dirty="0">
                <a:solidFill>
                  <a:srgbClr val="0070C0"/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Хорошие начинания  всегда должны быть услышаны властью и поддержаны ею – хотя бы организационно. Поэтому я  предлагаю вынести их в девиз следующего года  для всего Ставрополья. </a:t>
            </a:r>
            <a:r>
              <a:rPr lang="ru-RU" sz="2000" b="1" u="sng" dirty="0">
                <a:solidFill>
                  <a:srgbClr val="FF0000"/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Объявить в нашем крае 2017-й  годом местных инициатив.</a:t>
            </a:r>
          </a:p>
          <a:p>
            <a:pPr algn="just">
              <a:defRPr/>
            </a:pPr>
            <a:endParaRPr lang="ru-RU" sz="2000" b="1" dirty="0">
              <a:solidFill>
                <a:srgbClr val="0070C0"/>
              </a:solidFill>
              <a:latin typeface="Candara" pitchFamily="34" charset="0"/>
              <a:ea typeface="Segoe UI" pitchFamily="34" charset="0"/>
              <a:cs typeface="Simplified Arabic" pitchFamily="18" charset="-78"/>
            </a:endParaRPr>
          </a:p>
          <a:p>
            <a:pPr algn="just">
              <a:defRPr/>
            </a:pPr>
            <a:endParaRPr lang="ru-RU" sz="2000" b="1" dirty="0">
              <a:solidFill>
                <a:srgbClr val="0070C0"/>
              </a:solidFill>
              <a:latin typeface="Candara" pitchFamily="34" charset="0"/>
              <a:ea typeface="Segoe UI" pitchFamily="34" charset="0"/>
              <a:cs typeface="Simplified Arabic" pitchFamily="18" charset="-78"/>
            </a:endParaRPr>
          </a:p>
          <a:p>
            <a:pPr algn="r">
              <a:lnSpc>
                <a:spcPts val="1700"/>
              </a:lnSpc>
              <a:defRPr/>
            </a:pPr>
            <a:r>
              <a:rPr lang="ru-RU" sz="2000" b="1" dirty="0">
                <a:solidFill>
                  <a:srgbClr val="0070C0"/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Губернатор </a:t>
            </a:r>
          </a:p>
          <a:p>
            <a:pPr algn="r">
              <a:lnSpc>
                <a:spcPts val="1700"/>
              </a:lnSpc>
              <a:spcAft>
                <a:spcPts val="600"/>
              </a:spcAft>
              <a:defRPr/>
            </a:pPr>
            <a:r>
              <a:rPr lang="ru-RU" sz="2000" b="1" dirty="0">
                <a:solidFill>
                  <a:srgbClr val="0070C0"/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Ставропольского края       </a:t>
            </a:r>
          </a:p>
          <a:p>
            <a:pPr algn="r">
              <a:lnSpc>
                <a:spcPts val="1700"/>
              </a:lnSpc>
              <a:defRPr/>
            </a:pPr>
            <a:r>
              <a:rPr lang="ru-RU" sz="2000" b="1" dirty="0">
                <a:solidFill>
                  <a:srgbClr val="0070C0"/>
                </a:solidFill>
                <a:latin typeface="Candara" pitchFamily="34" charset="0"/>
                <a:ea typeface="Segoe UI" pitchFamily="34" charset="0"/>
                <a:cs typeface="Simplified Arabic" pitchFamily="18" charset="-78"/>
              </a:rPr>
              <a:t>В.В.Владимиров</a:t>
            </a:r>
            <a:endParaRPr lang="ru-RU" sz="2000" b="1" dirty="0">
              <a:solidFill>
                <a:srgbClr val="0070C0"/>
              </a:solidFill>
              <a:latin typeface="Candara" pitchFamily="34" charset="0"/>
              <a:ea typeface="Segoe UI" pitchFamily="34" charset="0"/>
              <a:cs typeface="Simplified Arabic" pitchFamily="18" charset="-78"/>
            </a:endParaRPr>
          </a:p>
        </p:txBody>
      </p:sp>
      <p:pic>
        <p:nvPicPr>
          <p:cNvPr id="10" name="Picture 2" descr="https://gorod-uspeha.info/upload/iblock/6a0/6a048ac6e9b0589661abbdc59eee732b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75520" y="1923304"/>
            <a:ext cx="3158476" cy="4312889"/>
          </a:xfrm>
          <a:prstGeom prst="rect">
            <a:avLst/>
          </a:prstGeom>
          <a:noFill/>
          <a:ln w="9525">
            <a:solidFill>
              <a:schemeClr val="tx1">
                <a:alpha val="31000"/>
              </a:schemeClr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047816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1758;p47">
            <a:extLst>
              <a:ext uri="{FF2B5EF4-FFF2-40B4-BE49-F238E27FC236}">
                <a16:creationId xmlns:a16="http://schemas.microsoft.com/office/drawing/2014/main" xmlns="" id="{55EACDDA-3740-425C-A85F-39C3254CEFD2}"/>
              </a:ext>
            </a:extLst>
          </p:cNvPr>
          <p:cNvSpPr/>
          <p:nvPr/>
        </p:nvSpPr>
        <p:spPr>
          <a:xfrm>
            <a:off x="4795224" y="2152879"/>
            <a:ext cx="1332441" cy="2215349"/>
          </a:xfrm>
          <a:custGeom>
            <a:avLst/>
            <a:gdLst/>
            <a:ahLst/>
            <a:cxnLst/>
            <a:rect l="l" t="t" r="r" b="b"/>
            <a:pathLst>
              <a:path w="31982" h="53174" extrusionOk="0">
                <a:moveTo>
                  <a:pt x="763" y="21479"/>
                </a:moveTo>
                <a:lnTo>
                  <a:pt x="20670" y="1215"/>
                </a:lnTo>
                <a:cubicBezTo>
                  <a:pt x="21849" y="0"/>
                  <a:pt x="23909" y="548"/>
                  <a:pt x="24337" y="2191"/>
                </a:cubicBezTo>
                <a:lnTo>
                  <a:pt x="31791" y="30528"/>
                </a:lnTo>
                <a:cubicBezTo>
                  <a:pt x="31981" y="31290"/>
                  <a:pt x="31755" y="32100"/>
                  <a:pt x="31195" y="32647"/>
                </a:cubicBezTo>
                <a:lnTo>
                  <a:pt x="11288" y="52019"/>
                </a:lnTo>
                <a:cubicBezTo>
                  <a:pt x="10097" y="53174"/>
                  <a:pt x="8097" y="52626"/>
                  <a:pt x="7657" y="51019"/>
                </a:cubicBezTo>
                <a:lnTo>
                  <a:pt x="203" y="23587"/>
                </a:lnTo>
                <a:cubicBezTo>
                  <a:pt x="1" y="22837"/>
                  <a:pt x="215" y="22039"/>
                  <a:pt x="763" y="21479"/>
                </a:cubicBezTo>
                <a:close/>
              </a:path>
            </a:pathLst>
          </a:custGeom>
          <a:solidFill>
            <a:srgbClr val="2BBBC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5" name="Google Shape;1759;p47">
            <a:extLst>
              <a:ext uri="{FF2B5EF4-FFF2-40B4-BE49-F238E27FC236}">
                <a16:creationId xmlns:a16="http://schemas.microsoft.com/office/drawing/2014/main" xmlns="" id="{DB9B250C-E67F-41E1-998F-1B102CA8F674}"/>
              </a:ext>
            </a:extLst>
          </p:cNvPr>
          <p:cNvSpPr/>
          <p:nvPr/>
        </p:nvSpPr>
        <p:spPr>
          <a:xfrm>
            <a:off x="4635032" y="2127591"/>
            <a:ext cx="1332400" cy="2215349"/>
          </a:xfrm>
          <a:custGeom>
            <a:avLst/>
            <a:gdLst/>
            <a:ahLst/>
            <a:cxnLst/>
            <a:rect l="l" t="t" r="r" b="b"/>
            <a:pathLst>
              <a:path w="31981" h="53174" fill="none" extrusionOk="0">
                <a:moveTo>
                  <a:pt x="750" y="21479"/>
                </a:moveTo>
                <a:lnTo>
                  <a:pt x="20657" y="1215"/>
                </a:lnTo>
                <a:cubicBezTo>
                  <a:pt x="21848" y="0"/>
                  <a:pt x="23896" y="548"/>
                  <a:pt x="24325" y="2191"/>
                </a:cubicBezTo>
                <a:lnTo>
                  <a:pt x="31778" y="30540"/>
                </a:lnTo>
                <a:cubicBezTo>
                  <a:pt x="31980" y="31302"/>
                  <a:pt x="31754" y="32111"/>
                  <a:pt x="31183" y="32659"/>
                </a:cubicBezTo>
                <a:lnTo>
                  <a:pt x="11275" y="52019"/>
                </a:lnTo>
                <a:cubicBezTo>
                  <a:pt x="10085" y="53173"/>
                  <a:pt x="8084" y="52626"/>
                  <a:pt x="7656" y="51030"/>
                </a:cubicBezTo>
                <a:lnTo>
                  <a:pt x="203" y="23586"/>
                </a:lnTo>
                <a:cubicBezTo>
                  <a:pt x="0" y="22836"/>
                  <a:pt x="203" y="22039"/>
                  <a:pt x="750" y="21479"/>
                </a:cubicBezTo>
                <a:close/>
              </a:path>
            </a:pathLst>
          </a:custGeom>
          <a:noFill/>
          <a:ln w="11300" cap="flat" cmpd="sng">
            <a:solidFill>
              <a:schemeClr val="bg1"/>
            </a:solidFill>
            <a:prstDash val="solid"/>
            <a:miter lim="11906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6" name="Google Shape;1760;p47">
            <a:extLst>
              <a:ext uri="{FF2B5EF4-FFF2-40B4-BE49-F238E27FC236}">
                <a16:creationId xmlns:a16="http://schemas.microsoft.com/office/drawing/2014/main" xmlns="" id="{4855BB7A-65AB-4788-9AFC-DCE644C3E751}"/>
              </a:ext>
            </a:extLst>
          </p:cNvPr>
          <p:cNvSpPr/>
          <p:nvPr/>
        </p:nvSpPr>
        <p:spPr>
          <a:xfrm>
            <a:off x="5087650" y="3030704"/>
            <a:ext cx="305093" cy="720507"/>
          </a:xfrm>
          <a:custGeom>
            <a:avLst/>
            <a:gdLst/>
            <a:ahLst/>
            <a:cxnLst/>
            <a:rect l="l" t="t" r="r" b="b"/>
            <a:pathLst>
              <a:path w="7323" h="17294" extrusionOk="0">
                <a:moveTo>
                  <a:pt x="2772" y="1942"/>
                </a:moveTo>
                <a:cubicBezTo>
                  <a:pt x="3111" y="1942"/>
                  <a:pt x="3447" y="2188"/>
                  <a:pt x="3774" y="2682"/>
                </a:cubicBezTo>
                <a:cubicBezTo>
                  <a:pt x="4310" y="3480"/>
                  <a:pt x="4834" y="4956"/>
                  <a:pt x="5358" y="7100"/>
                </a:cubicBezTo>
                <a:cubicBezTo>
                  <a:pt x="5870" y="9231"/>
                  <a:pt x="6108" y="10957"/>
                  <a:pt x="6084" y="12291"/>
                </a:cubicBezTo>
                <a:cubicBezTo>
                  <a:pt x="6060" y="13600"/>
                  <a:pt x="5763" y="14529"/>
                  <a:pt x="5203" y="15041"/>
                </a:cubicBezTo>
                <a:cubicBezTo>
                  <a:pt x="4984" y="15241"/>
                  <a:pt x="4767" y="15341"/>
                  <a:pt x="4552" y="15341"/>
                </a:cubicBezTo>
                <a:cubicBezTo>
                  <a:pt x="4215" y="15341"/>
                  <a:pt x="3882" y="15098"/>
                  <a:pt x="3548" y="14612"/>
                </a:cubicBezTo>
                <a:cubicBezTo>
                  <a:pt x="3012" y="13803"/>
                  <a:pt x="2488" y="12326"/>
                  <a:pt x="1976" y="10195"/>
                </a:cubicBezTo>
                <a:cubicBezTo>
                  <a:pt x="1465" y="8064"/>
                  <a:pt x="1214" y="6326"/>
                  <a:pt x="1238" y="5016"/>
                </a:cubicBezTo>
                <a:cubicBezTo>
                  <a:pt x="1262" y="3682"/>
                  <a:pt x="1560" y="2754"/>
                  <a:pt x="2119" y="2242"/>
                </a:cubicBezTo>
                <a:cubicBezTo>
                  <a:pt x="2337" y="2042"/>
                  <a:pt x="2555" y="1942"/>
                  <a:pt x="2772" y="1942"/>
                </a:cubicBezTo>
                <a:close/>
                <a:moveTo>
                  <a:pt x="2949" y="0"/>
                </a:moveTo>
                <a:cubicBezTo>
                  <a:pt x="2548" y="0"/>
                  <a:pt x="2136" y="192"/>
                  <a:pt x="1715" y="575"/>
                </a:cubicBezTo>
                <a:cubicBezTo>
                  <a:pt x="810" y="1408"/>
                  <a:pt x="298" y="2730"/>
                  <a:pt x="143" y="4552"/>
                </a:cubicBezTo>
                <a:cubicBezTo>
                  <a:pt x="0" y="6361"/>
                  <a:pt x="250" y="8576"/>
                  <a:pt x="881" y="11207"/>
                </a:cubicBezTo>
                <a:cubicBezTo>
                  <a:pt x="1512" y="13815"/>
                  <a:pt x="2227" y="15601"/>
                  <a:pt x="3036" y="16553"/>
                </a:cubicBezTo>
                <a:cubicBezTo>
                  <a:pt x="3466" y="17046"/>
                  <a:pt x="3908" y="17294"/>
                  <a:pt x="4365" y="17294"/>
                </a:cubicBezTo>
                <a:cubicBezTo>
                  <a:pt x="4769" y="17294"/>
                  <a:pt x="5183" y="17099"/>
                  <a:pt x="5608" y="16708"/>
                </a:cubicBezTo>
                <a:cubicBezTo>
                  <a:pt x="6513" y="15886"/>
                  <a:pt x="7025" y="14565"/>
                  <a:pt x="7168" y="12755"/>
                </a:cubicBezTo>
                <a:cubicBezTo>
                  <a:pt x="7322" y="10933"/>
                  <a:pt x="7072" y="8707"/>
                  <a:pt x="6441" y="6099"/>
                </a:cubicBezTo>
                <a:cubicBezTo>
                  <a:pt x="5810" y="3468"/>
                  <a:pt x="5096" y="1694"/>
                  <a:pt x="4286" y="754"/>
                </a:cubicBezTo>
                <a:cubicBezTo>
                  <a:pt x="3854" y="251"/>
                  <a:pt x="3408" y="0"/>
                  <a:pt x="294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7" name="Google Shape;1761;p47">
            <a:extLst>
              <a:ext uri="{FF2B5EF4-FFF2-40B4-BE49-F238E27FC236}">
                <a16:creationId xmlns:a16="http://schemas.microsoft.com/office/drawing/2014/main" xmlns="" id="{9AD2DFEB-63AA-4FBA-A257-B45CEB1C21B8}"/>
              </a:ext>
            </a:extLst>
          </p:cNvPr>
          <p:cNvSpPr/>
          <p:nvPr/>
        </p:nvSpPr>
        <p:spPr>
          <a:xfrm>
            <a:off x="5366913" y="2769898"/>
            <a:ext cx="348254" cy="757504"/>
          </a:xfrm>
          <a:custGeom>
            <a:avLst/>
            <a:gdLst/>
            <a:ahLst/>
            <a:cxnLst/>
            <a:rect l="l" t="t" r="r" b="b"/>
            <a:pathLst>
              <a:path w="8359" h="18182" extrusionOk="0">
                <a:moveTo>
                  <a:pt x="2834" y="1"/>
                </a:moveTo>
                <a:lnTo>
                  <a:pt x="1739" y="1001"/>
                </a:lnTo>
                <a:lnTo>
                  <a:pt x="0" y="3525"/>
                </a:lnTo>
                <a:lnTo>
                  <a:pt x="453" y="5442"/>
                </a:lnTo>
                <a:lnTo>
                  <a:pt x="2215" y="2906"/>
                </a:lnTo>
                <a:lnTo>
                  <a:pt x="5072" y="14776"/>
                </a:lnTo>
                <a:lnTo>
                  <a:pt x="3286" y="16408"/>
                </a:lnTo>
                <a:lnTo>
                  <a:pt x="3715" y="18182"/>
                </a:lnTo>
                <a:lnTo>
                  <a:pt x="8358" y="13919"/>
                </a:lnTo>
                <a:lnTo>
                  <a:pt x="7930" y="12145"/>
                </a:lnTo>
                <a:lnTo>
                  <a:pt x="6144" y="13788"/>
                </a:lnTo>
                <a:lnTo>
                  <a:pt x="2834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8" name="Google Shape;1763;p47">
            <a:extLst>
              <a:ext uri="{FF2B5EF4-FFF2-40B4-BE49-F238E27FC236}">
                <a16:creationId xmlns:a16="http://schemas.microsoft.com/office/drawing/2014/main" xmlns="" id="{CC7B8D01-A72A-4F3F-B478-D034C14AC5FA}"/>
              </a:ext>
            </a:extLst>
          </p:cNvPr>
          <p:cNvSpPr/>
          <p:nvPr/>
        </p:nvSpPr>
        <p:spPr>
          <a:xfrm>
            <a:off x="5954476" y="2067056"/>
            <a:ext cx="1680655" cy="1681613"/>
          </a:xfrm>
          <a:custGeom>
            <a:avLst/>
            <a:gdLst/>
            <a:ahLst/>
            <a:cxnLst/>
            <a:rect l="l" t="t" r="r" b="b"/>
            <a:pathLst>
              <a:path w="40340" h="40363" extrusionOk="0">
                <a:moveTo>
                  <a:pt x="37279" y="39958"/>
                </a:moveTo>
                <a:lnTo>
                  <a:pt x="9478" y="33052"/>
                </a:lnTo>
                <a:cubicBezTo>
                  <a:pt x="8704" y="32862"/>
                  <a:pt x="8097" y="32267"/>
                  <a:pt x="7895" y="31493"/>
                </a:cubicBezTo>
                <a:lnTo>
                  <a:pt x="429" y="3108"/>
                </a:lnTo>
                <a:cubicBezTo>
                  <a:pt x="1" y="1489"/>
                  <a:pt x="1501" y="1"/>
                  <a:pt x="3120" y="453"/>
                </a:cubicBezTo>
                <a:lnTo>
                  <a:pt x="30921" y="8085"/>
                </a:lnTo>
                <a:cubicBezTo>
                  <a:pt x="31671" y="8287"/>
                  <a:pt x="32243" y="8871"/>
                  <a:pt x="32445" y="9621"/>
                </a:cubicBezTo>
                <a:lnTo>
                  <a:pt x="39911" y="37267"/>
                </a:lnTo>
                <a:cubicBezTo>
                  <a:pt x="40339" y="38875"/>
                  <a:pt x="38887" y="40363"/>
                  <a:pt x="37279" y="39958"/>
                </a:cubicBezTo>
                <a:close/>
              </a:path>
            </a:pathLst>
          </a:custGeom>
          <a:solidFill>
            <a:srgbClr val="FF66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9" name="Google Shape;1764;p47">
            <a:extLst>
              <a:ext uri="{FF2B5EF4-FFF2-40B4-BE49-F238E27FC236}">
                <a16:creationId xmlns:a16="http://schemas.microsoft.com/office/drawing/2014/main" xmlns="" id="{36C263D9-4F2A-4BB5-B3A2-EF03BAE74F92}"/>
              </a:ext>
            </a:extLst>
          </p:cNvPr>
          <p:cNvSpPr/>
          <p:nvPr/>
        </p:nvSpPr>
        <p:spPr>
          <a:xfrm>
            <a:off x="6082962" y="1922237"/>
            <a:ext cx="1680613" cy="1681613"/>
          </a:xfrm>
          <a:custGeom>
            <a:avLst/>
            <a:gdLst/>
            <a:ahLst/>
            <a:cxnLst/>
            <a:rect l="l" t="t" r="r" b="b"/>
            <a:pathLst>
              <a:path w="40339" h="40363" fill="none" extrusionOk="0">
                <a:moveTo>
                  <a:pt x="37267" y="39957"/>
                </a:moveTo>
                <a:lnTo>
                  <a:pt x="9466" y="33052"/>
                </a:lnTo>
                <a:cubicBezTo>
                  <a:pt x="8692" y="32861"/>
                  <a:pt x="8085" y="32266"/>
                  <a:pt x="7882" y="31492"/>
                </a:cubicBezTo>
                <a:lnTo>
                  <a:pt x="429" y="3108"/>
                </a:lnTo>
                <a:cubicBezTo>
                  <a:pt x="0" y="1488"/>
                  <a:pt x="1489" y="0"/>
                  <a:pt x="3108" y="453"/>
                </a:cubicBezTo>
                <a:lnTo>
                  <a:pt x="30909" y="8084"/>
                </a:lnTo>
                <a:cubicBezTo>
                  <a:pt x="31659" y="8287"/>
                  <a:pt x="32243" y="8870"/>
                  <a:pt x="32445" y="9620"/>
                </a:cubicBezTo>
                <a:lnTo>
                  <a:pt x="39898" y="37278"/>
                </a:lnTo>
                <a:cubicBezTo>
                  <a:pt x="40339" y="38874"/>
                  <a:pt x="38886" y="40362"/>
                  <a:pt x="37267" y="39957"/>
                </a:cubicBezTo>
                <a:close/>
              </a:path>
            </a:pathLst>
          </a:custGeom>
          <a:noFill/>
          <a:ln w="11300" cap="flat" cmpd="sng">
            <a:solidFill>
              <a:schemeClr val="bg1"/>
            </a:solidFill>
            <a:prstDash val="solid"/>
            <a:miter lim="11906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0" name="Google Shape;1765;p47">
            <a:extLst>
              <a:ext uri="{FF2B5EF4-FFF2-40B4-BE49-F238E27FC236}">
                <a16:creationId xmlns:a16="http://schemas.microsoft.com/office/drawing/2014/main" xmlns="" id="{02E8A1BC-8A4C-43A7-A599-3B1EA9E6DE88}"/>
              </a:ext>
            </a:extLst>
          </p:cNvPr>
          <p:cNvSpPr/>
          <p:nvPr/>
        </p:nvSpPr>
        <p:spPr>
          <a:xfrm>
            <a:off x="6490003" y="2422684"/>
            <a:ext cx="355712" cy="670388"/>
          </a:xfrm>
          <a:custGeom>
            <a:avLst/>
            <a:gdLst/>
            <a:ahLst/>
            <a:cxnLst/>
            <a:rect l="l" t="t" r="r" b="b"/>
            <a:pathLst>
              <a:path w="8538" h="16091" extrusionOk="0">
                <a:moveTo>
                  <a:pt x="2628" y="1695"/>
                </a:moveTo>
                <a:cubicBezTo>
                  <a:pt x="2747" y="1695"/>
                  <a:pt x="2875" y="1715"/>
                  <a:pt x="3013" y="1756"/>
                </a:cubicBezTo>
                <a:cubicBezTo>
                  <a:pt x="3751" y="1982"/>
                  <a:pt x="4418" y="2660"/>
                  <a:pt x="5001" y="3827"/>
                </a:cubicBezTo>
                <a:cubicBezTo>
                  <a:pt x="5585" y="4982"/>
                  <a:pt x="6085" y="6601"/>
                  <a:pt x="6501" y="8709"/>
                </a:cubicBezTo>
                <a:cubicBezTo>
                  <a:pt x="6930" y="10792"/>
                  <a:pt x="7049" y="12316"/>
                  <a:pt x="6894" y="13257"/>
                </a:cubicBezTo>
                <a:cubicBezTo>
                  <a:pt x="6759" y="14012"/>
                  <a:pt x="6435" y="14389"/>
                  <a:pt x="5916" y="14389"/>
                </a:cubicBezTo>
                <a:cubicBezTo>
                  <a:pt x="5796" y="14389"/>
                  <a:pt x="5666" y="14369"/>
                  <a:pt x="5525" y="14329"/>
                </a:cubicBezTo>
                <a:cubicBezTo>
                  <a:pt x="4787" y="14114"/>
                  <a:pt x="4132" y="13424"/>
                  <a:pt x="3537" y="12281"/>
                </a:cubicBezTo>
                <a:cubicBezTo>
                  <a:pt x="2965" y="11114"/>
                  <a:pt x="2465" y="9495"/>
                  <a:pt x="2036" y="7399"/>
                </a:cubicBezTo>
                <a:cubicBezTo>
                  <a:pt x="1620" y="5292"/>
                  <a:pt x="1489" y="3780"/>
                  <a:pt x="1655" y="2839"/>
                </a:cubicBezTo>
                <a:cubicBezTo>
                  <a:pt x="1791" y="2074"/>
                  <a:pt x="2115" y="1695"/>
                  <a:pt x="2628" y="1695"/>
                </a:cubicBezTo>
                <a:close/>
                <a:moveTo>
                  <a:pt x="1919" y="0"/>
                </a:moveTo>
                <a:cubicBezTo>
                  <a:pt x="1153" y="0"/>
                  <a:pt x="632" y="454"/>
                  <a:pt x="358" y="1351"/>
                </a:cubicBezTo>
                <a:cubicBezTo>
                  <a:pt x="1" y="2518"/>
                  <a:pt x="84" y="4399"/>
                  <a:pt x="596" y="6971"/>
                </a:cubicBezTo>
                <a:cubicBezTo>
                  <a:pt x="1108" y="9542"/>
                  <a:pt x="1822" y="11602"/>
                  <a:pt x="2715" y="13138"/>
                </a:cubicBezTo>
                <a:cubicBezTo>
                  <a:pt x="3620" y="14674"/>
                  <a:pt x="4668" y="15614"/>
                  <a:pt x="5858" y="15972"/>
                </a:cubicBezTo>
                <a:cubicBezTo>
                  <a:pt x="6132" y="16051"/>
                  <a:pt x="6383" y="16091"/>
                  <a:pt x="6613" y="16091"/>
                </a:cubicBezTo>
                <a:cubicBezTo>
                  <a:pt x="7383" y="16091"/>
                  <a:pt x="7905" y="15644"/>
                  <a:pt x="8180" y="14745"/>
                </a:cubicBezTo>
                <a:cubicBezTo>
                  <a:pt x="8537" y="13567"/>
                  <a:pt x="8454" y="11697"/>
                  <a:pt x="7942" y="9126"/>
                </a:cubicBezTo>
                <a:cubicBezTo>
                  <a:pt x="7430" y="6542"/>
                  <a:pt x="6716" y="4494"/>
                  <a:pt x="5811" y="2958"/>
                </a:cubicBezTo>
                <a:cubicBezTo>
                  <a:pt x="4918" y="1410"/>
                  <a:pt x="3870" y="470"/>
                  <a:pt x="2679" y="124"/>
                </a:cubicBezTo>
                <a:cubicBezTo>
                  <a:pt x="2404" y="42"/>
                  <a:pt x="2150" y="0"/>
                  <a:pt x="191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1" name="Google Shape;1766;p47">
            <a:extLst>
              <a:ext uri="{FF2B5EF4-FFF2-40B4-BE49-F238E27FC236}">
                <a16:creationId xmlns:a16="http://schemas.microsoft.com/office/drawing/2014/main" xmlns="" id="{C6117347-D673-441E-9B01-1915874523DE}"/>
              </a:ext>
            </a:extLst>
          </p:cNvPr>
          <p:cNvSpPr/>
          <p:nvPr/>
        </p:nvSpPr>
        <p:spPr>
          <a:xfrm>
            <a:off x="6851131" y="2528465"/>
            <a:ext cx="399833" cy="699051"/>
          </a:xfrm>
          <a:custGeom>
            <a:avLst/>
            <a:gdLst/>
            <a:ahLst/>
            <a:cxnLst/>
            <a:rect l="l" t="t" r="r" b="b"/>
            <a:pathLst>
              <a:path w="9597" h="16779" extrusionOk="0">
                <a:moveTo>
                  <a:pt x="1614" y="1"/>
                </a:moveTo>
                <a:cubicBezTo>
                  <a:pt x="1568" y="1"/>
                  <a:pt x="1523" y="1"/>
                  <a:pt x="1477" y="2"/>
                </a:cubicBezTo>
                <a:cubicBezTo>
                  <a:pt x="1012" y="26"/>
                  <a:pt x="512" y="121"/>
                  <a:pt x="0" y="288"/>
                </a:cubicBezTo>
                <a:lnTo>
                  <a:pt x="429" y="2372"/>
                </a:lnTo>
                <a:cubicBezTo>
                  <a:pt x="905" y="2086"/>
                  <a:pt x="1369" y="1907"/>
                  <a:pt x="1822" y="1824"/>
                </a:cubicBezTo>
                <a:cubicBezTo>
                  <a:pt x="1986" y="1794"/>
                  <a:pt x="2152" y="1779"/>
                  <a:pt x="2318" y="1779"/>
                </a:cubicBezTo>
                <a:cubicBezTo>
                  <a:pt x="2609" y="1779"/>
                  <a:pt x="2899" y="1824"/>
                  <a:pt x="3179" y="1907"/>
                </a:cubicBezTo>
                <a:cubicBezTo>
                  <a:pt x="3822" y="2086"/>
                  <a:pt x="4382" y="2503"/>
                  <a:pt x="4882" y="3122"/>
                </a:cubicBezTo>
                <a:cubicBezTo>
                  <a:pt x="5382" y="3753"/>
                  <a:pt x="5715" y="4467"/>
                  <a:pt x="5882" y="5289"/>
                </a:cubicBezTo>
                <a:cubicBezTo>
                  <a:pt x="5977" y="5777"/>
                  <a:pt x="5989" y="6265"/>
                  <a:pt x="5906" y="6729"/>
                </a:cubicBezTo>
                <a:cubicBezTo>
                  <a:pt x="5834" y="7182"/>
                  <a:pt x="5632" y="7718"/>
                  <a:pt x="5322" y="8325"/>
                </a:cubicBezTo>
                <a:cubicBezTo>
                  <a:pt x="5156" y="8646"/>
                  <a:pt x="4739" y="9361"/>
                  <a:pt x="4072" y="10456"/>
                </a:cubicBezTo>
                <a:cubicBezTo>
                  <a:pt x="3405" y="11540"/>
                  <a:pt x="2882" y="12409"/>
                  <a:pt x="2501" y="13064"/>
                </a:cubicBezTo>
                <a:lnTo>
                  <a:pt x="2846" y="14802"/>
                </a:lnTo>
                <a:lnTo>
                  <a:pt x="9597" y="16778"/>
                </a:lnTo>
                <a:lnTo>
                  <a:pt x="9251" y="15040"/>
                </a:lnTo>
                <a:lnTo>
                  <a:pt x="4227" y="13575"/>
                </a:lnTo>
                <a:cubicBezTo>
                  <a:pt x="5049" y="12218"/>
                  <a:pt x="5680" y="11159"/>
                  <a:pt x="6132" y="10397"/>
                </a:cubicBezTo>
                <a:cubicBezTo>
                  <a:pt x="6573" y="9635"/>
                  <a:pt x="6834" y="9182"/>
                  <a:pt x="6918" y="9015"/>
                </a:cubicBezTo>
                <a:cubicBezTo>
                  <a:pt x="7192" y="8372"/>
                  <a:pt x="7358" y="7801"/>
                  <a:pt x="7406" y="7289"/>
                </a:cubicBezTo>
                <a:cubicBezTo>
                  <a:pt x="7465" y="6777"/>
                  <a:pt x="7418" y="6206"/>
                  <a:pt x="7299" y="5575"/>
                </a:cubicBezTo>
                <a:cubicBezTo>
                  <a:pt x="7037" y="4253"/>
                  <a:pt x="6489" y="3098"/>
                  <a:pt x="5680" y="2110"/>
                </a:cubicBezTo>
                <a:cubicBezTo>
                  <a:pt x="4870" y="1133"/>
                  <a:pt x="3906" y="479"/>
                  <a:pt x="2810" y="157"/>
                </a:cubicBezTo>
                <a:cubicBezTo>
                  <a:pt x="2435" y="50"/>
                  <a:pt x="2030" y="1"/>
                  <a:pt x="1614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" name="Google Shape;1768;p47">
            <a:extLst>
              <a:ext uri="{FF2B5EF4-FFF2-40B4-BE49-F238E27FC236}">
                <a16:creationId xmlns:a16="http://schemas.microsoft.com/office/drawing/2014/main" xmlns="" id="{77E51F56-A26A-484B-9AC6-F86758930181}"/>
              </a:ext>
            </a:extLst>
          </p:cNvPr>
          <p:cNvSpPr/>
          <p:nvPr/>
        </p:nvSpPr>
        <p:spPr>
          <a:xfrm>
            <a:off x="5317583" y="3611225"/>
            <a:ext cx="2208891" cy="1306112"/>
          </a:xfrm>
          <a:custGeom>
            <a:avLst/>
            <a:gdLst/>
            <a:ahLst/>
            <a:cxnLst/>
            <a:rect l="l" t="t" r="r" b="b"/>
            <a:pathLst>
              <a:path w="53019" h="31350" extrusionOk="0">
                <a:moveTo>
                  <a:pt x="29290" y="31147"/>
                </a:moveTo>
                <a:lnTo>
                  <a:pt x="2155" y="23730"/>
                </a:lnTo>
                <a:cubicBezTo>
                  <a:pt x="524" y="23289"/>
                  <a:pt x="0" y="21241"/>
                  <a:pt x="1215" y="20063"/>
                </a:cubicBezTo>
                <a:lnTo>
                  <a:pt x="21086" y="739"/>
                </a:lnTo>
                <a:cubicBezTo>
                  <a:pt x="21622" y="203"/>
                  <a:pt x="22396" y="1"/>
                  <a:pt x="23134" y="179"/>
                </a:cubicBezTo>
                <a:lnTo>
                  <a:pt x="50804" y="7049"/>
                </a:lnTo>
                <a:cubicBezTo>
                  <a:pt x="52459" y="7466"/>
                  <a:pt x="53019" y="9538"/>
                  <a:pt x="51792" y="10740"/>
                </a:cubicBezTo>
                <a:lnTo>
                  <a:pt x="31385" y="30600"/>
                </a:lnTo>
                <a:cubicBezTo>
                  <a:pt x="30825" y="31147"/>
                  <a:pt x="30028" y="31350"/>
                  <a:pt x="29290" y="311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3" name="Google Shape;1769;p47">
            <a:extLst>
              <a:ext uri="{FF2B5EF4-FFF2-40B4-BE49-F238E27FC236}">
                <a16:creationId xmlns:a16="http://schemas.microsoft.com/office/drawing/2014/main" xmlns="" id="{685B9817-F591-4D20-B2EB-DA55494C6A59}"/>
              </a:ext>
            </a:extLst>
          </p:cNvPr>
          <p:cNvSpPr/>
          <p:nvPr/>
        </p:nvSpPr>
        <p:spPr>
          <a:xfrm>
            <a:off x="5355288" y="3776416"/>
            <a:ext cx="2209391" cy="1306112"/>
          </a:xfrm>
          <a:custGeom>
            <a:avLst/>
            <a:gdLst/>
            <a:ahLst/>
            <a:cxnLst/>
            <a:rect l="l" t="t" r="r" b="b"/>
            <a:pathLst>
              <a:path w="53031" h="31350" fill="none" extrusionOk="0">
                <a:moveTo>
                  <a:pt x="29289" y="31147"/>
                </a:moveTo>
                <a:lnTo>
                  <a:pt x="2167" y="23742"/>
                </a:lnTo>
                <a:cubicBezTo>
                  <a:pt x="536" y="23289"/>
                  <a:pt x="0" y="21241"/>
                  <a:pt x="1214" y="20063"/>
                </a:cubicBezTo>
                <a:lnTo>
                  <a:pt x="21086" y="739"/>
                </a:lnTo>
                <a:cubicBezTo>
                  <a:pt x="21622" y="215"/>
                  <a:pt x="22396" y="1"/>
                  <a:pt x="23134" y="191"/>
                </a:cubicBezTo>
                <a:lnTo>
                  <a:pt x="50804" y="7061"/>
                </a:lnTo>
                <a:cubicBezTo>
                  <a:pt x="52459" y="7466"/>
                  <a:pt x="53030" y="9549"/>
                  <a:pt x="51804" y="10740"/>
                </a:cubicBezTo>
                <a:lnTo>
                  <a:pt x="31385" y="30611"/>
                </a:lnTo>
                <a:cubicBezTo>
                  <a:pt x="30837" y="31147"/>
                  <a:pt x="30039" y="31350"/>
                  <a:pt x="29289" y="31147"/>
                </a:cubicBezTo>
                <a:close/>
              </a:path>
            </a:pathLst>
          </a:custGeom>
          <a:noFill/>
          <a:ln w="11300" cap="flat" cmpd="sng">
            <a:solidFill>
              <a:schemeClr val="bg1"/>
            </a:solidFill>
            <a:prstDash val="solid"/>
            <a:miter lim="11906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4" name="Google Shape;1770;p47">
            <a:extLst>
              <a:ext uri="{FF2B5EF4-FFF2-40B4-BE49-F238E27FC236}">
                <a16:creationId xmlns:a16="http://schemas.microsoft.com/office/drawing/2014/main" xmlns="" id="{98DDFC5B-D23B-4A85-9319-1C6B4F063851}"/>
              </a:ext>
            </a:extLst>
          </p:cNvPr>
          <p:cNvSpPr/>
          <p:nvPr/>
        </p:nvSpPr>
        <p:spPr>
          <a:xfrm>
            <a:off x="6027383" y="4064718"/>
            <a:ext cx="575480" cy="487615"/>
          </a:xfrm>
          <a:custGeom>
            <a:avLst/>
            <a:gdLst/>
            <a:ahLst/>
            <a:cxnLst/>
            <a:rect l="l" t="t" r="r" b="b"/>
            <a:pathLst>
              <a:path w="13813" h="11704" extrusionOk="0">
                <a:moveTo>
                  <a:pt x="10378" y="1278"/>
                </a:moveTo>
                <a:cubicBezTo>
                  <a:pt x="10633" y="1278"/>
                  <a:pt x="10872" y="1319"/>
                  <a:pt x="11098" y="1403"/>
                </a:cubicBezTo>
                <a:cubicBezTo>
                  <a:pt x="11836" y="1665"/>
                  <a:pt x="12038" y="2236"/>
                  <a:pt x="11705" y="3118"/>
                </a:cubicBezTo>
                <a:cubicBezTo>
                  <a:pt x="11383" y="3999"/>
                  <a:pt x="10514" y="5177"/>
                  <a:pt x="9121" y="6666"/>
                </a:cubicBezTo>
                <a:cubicBezTo>
                  <a:pt x="7728" y="8142"/>
                  <a:pt x="6490" y="9190"/>
                  <a:pt x="5418" y="9797"/>
                </a:cubicBezTo>
                <a:cubicBezTo>
                  <a:pt x="4682" y="10219"/>
                  <a:pt x="4026" y="10434"/>
                  <a:pt x="3447" y="10434"/>
                </a:cubicBezTo>
                <a:cubicBezTo>
                  <a:pt x="3192" y="10434"/>
                  <a:pt x="2953" y="10392"/>
                  <a:pt x="2728" y="10309"/>
                </a:cubicBezTo>
                <a:cubicBezTo>
                  <a:pt x="1989" y="10047"/>
                  <a:pt x="1787" y="9475"/>
                  <a:pt x="2108" y="8594"/>
                </a:cubicBezTo>
                <a:cubicBezTo>
                  <a:pt x="2442" y="7713"/>
                  <a:pt x="3311" y="6535"/>
                  <a:pt x="4704" y="5058"/>
                </a:cubicBezTo>
                <a:cubicBezTo>
                  <a:pt x="6097" y="3570"/>
                  <a:pt x="7335" y="2522"/>
                  <a:pt x="8395" y="1915"/>
                </a:cubicBezTo>
                <a:cubicBezTo>
                  <a:pt x="9140" y="1493"/>
                  <a:pt x="9798" y="1278"/>
                  <a:pt x="10378" y="1278"/>
                </a:cubicBezTo>
                <a:close/>
                <a:moveTo>
                  <a:pt x="10813" y="0"/>
                </a:moveTo>
                <a:cubicBezTo>
                  <a:pt x="9988" y="0"/>
                  <a:pt x="9093" y="234"/>
                  <a:pt x="8121" y="701"/>
                </a:cubicBezTo>
                <a:cubicBezTo>
                  <a:pt x="6609" y="1427"/>
                  <a:pt x="4990" y="2713"/>
                  <a:pt x="3275" y="4534"/>
                </a:cubicBezTo>
                <a:cubicBezTo>
                  <a:pt x="1561" y="6356"/>
                  <a:pt x="561" y="7856"/>
                  <a:pt x="275" y="9047"/>
                </a:cubicBezTo>
                <a:cubicBezTo>
                  <a:pt x="1" y="10237"/>
                  <a:pt x="453" y="11035"/>
                  <a:pt x="1632" y="11464"/>
                </a:cubicBezTo>
                <a:cubicBezTo>
                  <a:pt x="2071" y="11623"/>
                  <a:pt x="2532" y="11704"/>
                  <a:pt x="3018" y="11704"/>
                </a:cubicBezTo>
                <a:cubicBezTo>
                  <a:pt x="3837" y="11704"/>
                  <a:pt x="4723" y="11475"/>
                  <a:pt x="5680" y="11011"/>
                </a:cubicBezTo>
                <a:cubicBezTo>
                  <a:pt x="7204" y="10285"/>
                  <a:pt x="8835" y="8999"/>
                  <a:pt x="10538" y="7178"/>
                </a:cubicBezTo>
                <a:cubicBezTo>
                  <a:pt x="12264" y="5356"/>
                  <a:pt x="13253" y="3844"/>
                  <a:pt x="13526" y="2665"/>
                </a:cubicBezTo>
                <a:cubicBezTo>
                  <a:pt x="13812" y="1474"/>
                  <a:pt x="13360" y="665"/>
                  <a:pt x="12181" y="236"/>
                </a:cubicBezTo>
                <a:cubicBezTo>
                  <a:pt x="11748" y="79"/>
                  <a:pt x="11293" y="0"/>
                  <a:pt x="10813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5" name="Google Shape;1771;p47">
            <a:extLst>
              <a:ext uri="{FF2B5EF4-FFF2-40B4-BE49-F238E27FC236}">
                <a16:creationId xmlns:a16="http://schemas.microsoft.com/office/drawing/2014/main" xmlns="" id="{381D49FC-76EB-4A87-8BB0-091F540BDE14}"/>
              </a:ext>
            </a:extLst>
          </p:cNvPr>
          <p:cNvSpPr/>
          <p:nvPr/>
        </p:nvSpPr>
        <p:spPr>
          <a:xfrm>
            <a:off x="6353807" y="4185164"/>
            <a:ext cx="634474" cy="504238"/>
          </a:xfrm>
          <a:custGeom>
            <a:avLst/>
            <a:gdLst/>
            <a:ahLst/>
            <a:cxnLst/>
            <a:rect l="l" t="t" r="r" b="b"/>
            <a:pathLst>
              <a:path w="15229" h="12103" extrusionOk="0">
                <a:moveTo>
                  <a:pt x="9930" y="0"/>
                </a:moveTo>
                <a:lnTo>
                  <a:pt x="8704" y="1310"/>
                </a:lnTo>
                <a:cubicBezTo>
                  <a:pt x="9418" y="1322"/>
                  <a:pt x="10037" y="1358"/>
                  <a:pt x="10561" y="1441"/>
                </a:cubicBezTo>
                <a:cubicBezTo>
                  <a:pt x="11085" y="1512"/>
                  <a:pt x="11549" y="1620"/>
                  <a:pt x="11942" y="1762"/>
                </a:cubicBezTo>
                <a:cubicBezTo>
                  <a:pt x="12657" y="2024"/>
                  <a:pt x="13061" y="2370"/>
                  <a:pt x="13157" y="2810"/>
                </a:cubicBezTo>
                <a:cubicBezTo>
                  <a:pt x="13264" y="3251"/>
                  <a:pt x="13061" y="3739"/>
                  <a:pt x="12538" y="4298"/>
                </a:cubicBezTo>
                <a:cubicBezTo>
                  <a:pt x="12026" y="4834"/>
                  <a:pt x="11454" y="5191"/>
                  <a:pt x="10811" y="5346"/>
                </a:cubicBezTo>
                <a:cubicBezTo>
                  <a:pt x="10575" y="5399"/>
                  <a:pt x="10337" y="5425"/>
                  <a:pt x="10094" y="5425"/>
                </a:cubicBezTo>
                <a:cubicBezTo>
                  <a:pt x="9675" y="5425"/>
                  <a:pt x="9244" y="5345"/>
                  <a:pt x="8799" y="5179"/>
                </a:cubicBezTo>
                <a:lnTo>
                  <a:pt x="7513" y="4715"/>
                </a:lnTo>
                <a:lnTo>
                  <a:pt x="6382" y="5918"/>
                </a:lnTo>
                <a:lnTo>
                  <a:pt x="7608" y="6370"/>
                </a:lnTo>
                <a:cubicBezTo>
                  <a:pt x="8382" y="6656"/>
                  <a:pt x="8823" y="7049"/>
                  <a:pt x="8906" y="7573"/>
                </a:cubicBezTo>
                <a:cubicBezTo>
                  <a:pt x="9013" y="8085"/>
                  <a:pt x="8763" y="8668"/>
                  <a:pt x="8168" y="9299"/>
                </a:cubicBezTo>
                <a:cubicBezTo>
                  <a:pt x="7513" y="9990"/>
                  <a:pt x="6787" y="10430"/>
                  <a:pt x="5977" y="10633"/>
                </a:cubicBezTo>
                <a:cubicBezTo>
                  <a:pt x="5680" y="10702"/>
                  <a:pt x="5379" y="10737"/>
                  <a:pt x="5072" y="10737"/>
                </a:cubicBezTo>
                <a:cubicBezTo>
                  <a:pt x="4541" y="10737"/>
                  <a:pt x="3995" y="10634"/>
                  <a:pt x="3429" y="10430"/>
                </a:cubicBezTo>
                <a:cubicBezTo>
                  <a:pt x="2917" y="10240"/>
                  <a:pt x="2477" y="10002"/>
                  <a:pt x="2120" y="9716"/>
                </a:cubicBezTo>
                <a:cubicBezTo>
                  <a:pt x="1762" y="9418"/>
                  <a:pt x="1500" y="9085"/>
                  <a:pt x="1334" y="8704"/>
                </a:cubicBezTo>
                <a:lnTo>
                  <a:pt x="0" y="10121"/>
                </a:lnTo>
                <a:cubicBezTo>
                  <a:pt x="334" y="10478"/>
                  <a:pt x="691" y="10787"/>
                  <a:pt x="1072" y="11037"/>
                </a:cubicBezTo>
                <a:cubicBezTo>
                  <a:pt x="1453" y="11299"/>
                  <a:pt x="1870" y="11514"/>
                  <a:pt x="2310" y="11680"/>
                </a:cubicBezTo>
                <a:cubicBezTo>
                  <a:pt x="3094" y="11963"/>
                  <a:pt x="3866" y="12103"/>
                  <a:pt x="4628" y="12103"/>
                </a:cubicBezTo>
                <a:cubicBezTo>
                  <a:pt x="5149" y="12103"/>
                  <a:pt x="5666" y="12037"/>
                  <a:pt x="6180" y="11907"/>
                </a:cubicBezTo>
                <a:cubicBezTo>
                  <a:pt x="7442" y="11585"/>
                  <a:pt x="8573" y="10883"/>
                  <a:pt x="9585" y="9823"/>
                </a:cubicBezTo>
                <a:cubicBezTo>
                  <a:pt x="10240" y="9120"/>
                  <a:pt x="10597" y="8466"/>
                  <a:pt x="10656" y="7858"/>
                </a:cubicBezTo>
                <a:cubicBezTo>
                  <a:pt x="10716" y="7239"/>
                  <a:pt x="10478" y="6739"/>
                  <a:pt x="9942" y="6334"/>
                </a:cubicBezTo>
                <a:lnTo>
                  <a:pt x="9942" y="6334"/>
                </a:lnTo>
                <a:cubicBezTo>
                  <a:pt x="10087" y="6348"/>
                  <a:pt x="10230" y="6355"/>
                  <a:pt x="10373" y="6355"/>
                </a:cubicBezTo>
                <a:cubicBezTo>
                  <a:pt x="10984" y="6355"/>
                  <a:pt x="11580" y="6233"/>
                  <a:pt x="12168" y="6001"/>
                </a:cubicBezTo>
                <a:cubicBezTo>
                  <a:pt x="12895" y="5703"/>
                  <a:pt x="13538" y="5263"/>
                  <a:pt x="14097" y="4668"/>
                </a:cubicBezTo>
                <a:cubicBezTo>
                  <a:pt x="14907" y="3798"/>
                  <a:pt x="15228" y="3001"/>
                  <a:pt x="15074" y="2274"/>
                </a:cubicBezTo>
                <a:cubicBezTo>
                  <a:pt x="14919" y="1536"/>
                  <a:pt x="14300" y="977"/>
                  <a:pt x="13228" y="584"/>
                </a:cubicBezTo>
                <a:cubicBezTo>
                  <a:pt x="12800" y="429"/>
                  <a:pt x="12323" y="298"/>
                  <a:pt x="11776" y="203"/>
                </a:cubicBezTo>
                <a:cubicBezTo>
                  <a:pt x="11228" y="107"/>
                  <a:pt x="10621" y="48"/>
                  <a:pt x="993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64" name="Скругленный прямоугольник 63"/>
          <p:cNvSpPr/>
          <p:nvPr/>
        </p:nvSpPr>
        <p:spPr>
          <a:xfrm>
            <a:off x="3086588" y="2367778"/>
            <a:ext cx="492708" cy="498537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Google Shape;1794;p47">
            <a:extLst>
              <a:ext uri="{FF2B5EF4-FFF2-40B4-BE49-F238E27FC236}">
                <a16:creationId xmlns:a16="http://schemas.microsoft.com/office/drawing/2014/main" xmlns="" id="{FBD9FAD2-8DC9-4672-AD8A-088E5C9157DA}"/>
              </a:ext>
            </a:extLst>
          </p:cNvPr>
          <p:cNvSpPr/>
          <p:nvPr/>
        </p:nvSpPr>
        <p:spPr>
          <a:xfrm flipH="1">
            <a:off x="2991138" y="2320491"/>
            <a:ext cx="1270347" cy="1134791"/>
          </a:xfrm>
          <a:custGeom>
            <a:avLst/>
            <a:gdLst/>
            <a:ahLst/>
            <a:cxnLst/>
            <a:rect l="l" t="t" r="r" b="b"/>
            <a:pathLst>
              <a:path w="23623" h="21813" extrusionOk="0">
                <a:moveTo>
                  <a:pt x="19050" y="21812"/>
                </a:moveTo>
                <a:lnTo>
                  <a:pt x="4572" y="21812"/>
                </a:lnTo>
                <a:cubicBezTo>
                  <a:pt x="2048" y="21812"/>
                  <a:pt x="0" y="19764"/>
                  <a:pt x="0" y="17240"/>
                </a:cubicBezTo>
                <a:lnTo>
                  <a:pt x="0" y="4572"/>
                </a:lnTo>
                <a:cubicBezTo>
                  <a:pt x="0" y="2048"/>
                  <a:pt x="2048" y="0"/>
                  <a:pt x="4572" y="0"/>
                </a:cubicBezTo>
                <a:lnTo>
                  <a:pt x="19050" y="0"/>
                </a:lnTo>
                <a:cubicBezTo>
                  <a:pt x="21574" y="0"/>
                  <a:pt x="23622" y="2048"/>
                  <a:pt x="23622" y="4572"/>
                </a:cubicBezTo>
                <a:lnTo>
                  <a:pt x="23622" y="17240"/>
                </a:lnTo>
                <a:cubicBezTo>
                  <a:pt x="23622" y="19764"/>
                  <a:pt x="21574" y="21812"/>
                  <a:pt x="19050" y="21812"/>
                </a:cubicBezTo>
                <a:close/>
              </a:path>
            </a:pathLst>
          </a:custGeom>
          <a:solidFill>
            <a:srgbClr val="2BBBC8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" name="Google Shape;1795;p47">
            <a:extLst>
              <a:ext uri="{FF2B5EF4-FFF2-40B4-BE49-F238E27FC236}">
                <a16:creationId xmlns:a16="http://schemas.microsoft.com/office/drawing/2014/main" xmlns="" id="{A0BE7660-A7D0-4E87-94C4-E764F930BC59}"/>
              </a:ext>
            </a:extLst>
          </p:cNvPr>
          <p:cNvSpPr/>
          <p:nvPr/>
        </p:nvSpPr>
        <p:spPr>
          <a:xfrm flipH="1">
            <a:off x="2846971" y="2163239"/>
            <a:ext cx="1345564" cy="1201262"/>
          </a:xfrm>
          <a:custGeom>
            <a:avLst/>
            <a:gdLst/>
            <a:ahLst/>
            <a:cxnLst/>
            <a:rect l="l" t="t" r="r" b="b"/>
            <a:pathLst>
              <a:path w="23635" h="21813" fill="none" extrusionOk="0">
                <a:moveTo>
                  <a:pt x="19062" y="21813"/>
                </a:moveTo>
                <a:lnTo>
                  <a:pt x="4572" y="21813"/>
                </a:lnTo>
                <a:cubicBezTo>
                  <a:pt x="2048" y="21813"/>
                  <a:pt x="0" y="19765"/>
                  <a:pt x="0" y="17241"/>
                </a:cubicBezTo>
                <a:lnTo>
                  <a:pt x="0" y="4572"/>
                </a:lnTo>
                <a:cubicBezTo>
                  <a:pt x="0" y="2048"/>
                  <a:pt x="2048" y="0"/>
                  <a:pt x="4572" y="0"/>
                </a:cubicBezTo>
                <a:lnTo>
                  <a:pt x="19062" y="0"/>
                </a:lnTo>
                <a:cubicBezTo>
                  <a:pt x="21586" y="0"/>
                  <a:pt x="23634" y="2048"/>
                  <a:pt x="23634" y="4572"/>
                </a:cubicBezTo>
                <a:lnTo>
                  <a:pt x="23634" y="17241"/>
                </a:lnTo>
                <a:cubicBezTo>
                  <a:pt x="23634" y="19765"/>
                  <a:pt x="21586" y="21813"/>
                  <a:pt x="19062" y="21813"/>
                </a:cubicBezTo>
                <a:close/>
              </a:path>
            </a:pathLst>
          </a:custGeom>
          <a:noFill/>
          <a:ln w="7450" cap="flat" cmpd="sng">
            <a:solidFill>
              <a:srgbClr val="000000"/>
            </a:solidFill>
            <a:prstDash val="solid"/>
            <a:miter lim="11906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5" name="Google Shape;1796;p47">
            <a:extLst>
              <a:ext uri="{FF2B5EF4-FFF2-40B4-BE49-F238E27FC236}">
                <a16:creationId xmlns:a16="http://schemas.microsoft.com/office/drawing/2014/main" xmlns="" id="{755B7967-4F22-422F-91DB-2FC4EEE982C4}"/>
              </a:ext>
            </a:extLst>
          </p:cNvPr>
          <p:cNvSpPr/>
          <p:nvPr/>
        </p:nvSpPr>
        <p:spPr>
          <a:xfrm flipH="1">
            <a:off x="3698462" y="3364459"/>
            <a:ext cx="1129505" cy="768419"/>
          </a:xfrm>
          <a:custGeom>
            <a:avLst/>
            <a:gdLst/>
            <a:ahLst/>
            <a:cxnLst/>
            <a:rect l="l" t="t" r="r" b="b"/>
            <a:pathLst>
              <a:path w="27111" h="18444" fill="none" extrusionOk="0">
                <a:moveTo>
                  <a:pt x="0" y="18443"/>
                </a:moveTo>
                <a:lnTo>
                  <a:pt x="20336" y="18443"/>
                </a:lnTo>
                <a:cubicBezTo>
                  <a:pt x="24075" y="18443"/>
                  <a:pt x="27111" y="15407"/>
                  <a:pt x="27111" y="11669"/>
                </a:cubicBezTo>
                <a:lnTo>
                  <a:pt x="27111" y="1"/>
                </a:lnTo>
              </a:path>
            </a:pathLst>
          </a:custGeom>
          <a:ln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6" name="Google Shape;1797;p47">
            <a:extLst>
              <a:ext uri="{FF2B5EF4-FFF2-40B4-BE49-F238E27FC236}">
                <a16:creationId xmlns:a16="http://schemas.microsoft.com/office/drawing/2014/main" xmlns="" id="{246BF981-7C11-413E-9918-944B62791891}"/>
              </a:ext>
            </a:extLst>
          </p:cNvPr>
          <p:cNvSpPr/>
          <p:nvPr/>
        </p:nvSpPr>
        <p:spPr>
          <a:xfrm flipH="1">
            <a:off x="4768433" y="4085216"/>
            <a:ext cx="95740" cy="95281"/>
          </a:xfrm>
          <a:custGeom>
            <a:avLst/>
            <a:gdLst/>
            <a:ahLst/>
            <a:cxnLst/>
            <a:rect l="l" t="t" r="r" b="b"/>
            <a:pathLst>
              <a:path w="2298" h="2287" extrusionOk="0">
                <a:moveTo>
                  <a:pt x="1155" y="0"/>
                </a:moveTo>
                <a:cubicBezTo>
                  <a:pt x="524" y="0"/>
                  <a:pt x="0" y="512"/>
                  <a:pt x="0" y="1143"/>
                </a:cubicBezTo>
                <a:cubicBezTo>
                  <a:pt x="0" y="1774"/>
                  <a:pt x="524" y="2286"/>
                  <a:pt x="1155" y="2286"/>
                </a:cubicBezTo>
                <a:cubicBezTo>
                  <a:pt x="1786" y="2286"/>
                  <a:pt x="2298" y="1774"/>
                  <a:pt x="2298" y="1143"/>
                </a:cubicBezTo>
                <a:cubicBezTo>
                  <a:pt x="2298" y="512"/>
                  <a:pt x="1786" y="0"/>
                  <a:pt x="1155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31" name="Google Shape;1803;p47">
            <a:extLst>
              <a:ext uri="{FF2B5EF4-FFF2-40B4-BE49-F238E27FC236}">
                <a16:creationId xmlns:a16="http://schemas.microsoft.com/office/drawing/2014/main" xmlns="" id="{38BD6998-18AD-4DF8-8336-554F9A6740EA}"/>
              </a:ext>
            </a:extLst>
          </p:cNvPr>
          <p:cNvSpPr/>
          <p:nvPr/>
        </p:nvSpPr>
        <p:spPr>
          <a:xfrm>
            <a:off x="7823559" y="1334531"/>
            <a:ext cx="1376614" cy="1167770"/>
          </a:xfrm>
          <a:custGeom>
            <a:avLst/>
            <a:gdLst/>
            <a:ahLst/>
            <a:cxnLst/>
            <a:rect l="l" t="t" r="r" b="b"/>
            <a:pathLst>
              <a:path w="23623" h="21813" extrusionOk="0">
                <a:moveTo>
                  <a:pt x="19050" y="21812"/>
                </a:moveTo>
                <a:lnTo>
                  <a:pt x="4572" y="21812"/>
                </a:lnTo>
                <a:cubicBezTo>
                  <a:pt x="2048" y="21812"/>
                  <a:pt x="0" y="19764"/>
                  <a:pt x="0" y="17240"/>
                </a:cubicBezTo>
                <a:lnTo>
                  <a:pt x="0" y="4572"/>
                </a:lnTo>
                <a:cubicBezTo>
                  <a:pt x="0" y="2048"/>
                  <a:pt x="2048" y="0"/>
                  <a:pt x="4572" y="0"/>
                </a:cubicBezTo>
                <a:lnTo>
                  <a:pt x="19050" y="0"/>
                </a:lnTo>
                <a:cubicBezTo>
                  <a:pt x="21574" y="0"/>
                  <a:pt x="23622" y="2048"/>
                  <a:pt x="23622" y="4572"/>
                </a:cubicBezTo>
                <a:lnTo>
                  <a:pt x="23622" y="17240"/>
                </a:lnTo>
                <a:cubicBezTo>
                  <a:pt x="23622" y="19764"/>
                  <a:pt x="21574" y="21812"/>
                  <a:pt x="19050" y="21812"/>
                </a:cubicBezTo>
                <a:close/>
              </a:path>
            </a:pathLst>
          </a:custGeom>
          <a:solidFill>
            <a:srgbClr val="FF66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32" name="Google Shape;1804;p47">
            <a:extLst>
              <a:ext uri="{FF2B5EF4-FFF2-40B4-BE49-F238E27FC236}">
                <a16:creationId xmlns:a16="http://schemas.microsoft.com/office/drawing/2014/main" xmlns="" id="{9D998697-2D4D-451E-B260-1FA6512BF038}"/>
              </a:ext>
            </a:extLst>
          </p:cNvPr>
          <p:cNvSpPr/>
          <p:nvPr/>
        </p:nvSpPr>
        <p:spPr>
          <a:xfrm>
            <a:off x="8079435" y="1502739"/>
            <a:ext cx="1275746" cy="1118712"/>
          </a:xfrm>
          <a:custGeom>
            <a:avLst/>
            <a:gdLst/>
            <a:ahLst/>
            <a:cxnLst/>
            <a:rect l="l" t="t" r="r" b="b"/>
            <a:pathLst>
              <a:path w="23635" h="21813" fill="none" extrusionOk="0">
                <a:moveTo>
                  <a:pt x="19062" y="21813"/>
                </a:moveTo>
                <a:lnTo>
                  <a:pt x="4572" y="21813"/>
                </a:lnTo>
                <a:cubicBezTo>
                  <a:pt x="2048" y="21813"/>
                  <a:pt x="0" y="19765"/>
                  <a:pt x="0" y="17241"/>
                </a:cubicBezTo>
                <a:lnTo>
                  <a:pt x="0" y="4572"/>
                </a:lnTo>
                <a:cubicBezTo>
                  <a:pt x="0" y="2048"/>
                  <a:pt x="2048" y="0"/>
                  <a:pt x="4572" y="0"/>
                </a:cubicBezTo>
                <a:lnTo>
                  <a:pt x="19062" y="0"/>
                </a:lnTo>
                <a:cubicBezTo>
                  <a:pt x="21586" y="0"/>
                  <a:pt x="23634" y="2048"/>
                  <a:pt x="23634" y="4572"/>
                </a:cubicBezTo>
                <a:lnTo>
                  <a:pt x="23634" y="17241"/>
                </a:lnTo>
                <a:cubicBezTo>
                  <a:pt x="23634" y="19765"/>
                  <a:pt x="21586" y="21813"/>
                  <a:pt x="19062" y="21813"/>
                </a:cubicBezTo>
                <a:close/>
              </a:path>
            </a:pathLst>
          </a:custGeom>
          <a:noFill/>
          <a:ln w="7450" cap="flat" cmpd="sng">
            <a:solidFill>
              <a:srgbClr val="000000"/>
            </a:solidFill>
            <a:prstDash val="solid"/>
            <a:miter lim="11906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33" name="Google Shape;1805;p47">
            <a:extLst>
              <a:ext uri="{FF2B5EF4-FFF2-40B4-BE49-F238E27FC236}">
                <a16:creationId xmlns:a16="http://schemas.microsoft.com/office/drawing/2014/main" xmlns="" id="{1079DE0A-D5C1-4979-A3A3-2CAF588E6027}"/>
              </a:ext>
            </a:extLst>
          </p:cNvPr>
          <p:cNvSpPr/>
          <p:nvPr/>
        </p:nvSpPr>
        <p:spPr>
          <a:xfrm>
            <a:off x="7713065" y="2618974"/>
            <a:ext cx="1129505" cy="768419"/>
          </a:xfrm>
          <a:custGeom>
            <a:avLst/>
            <a:gdLst/>
            <a:ahLst/>
            <a:cxnLst/>
            <a:rect l="l" t="t" r="r" b="b"/>
            <a:pathLst>
              <a:path w="27111" h="18444" fill="none" extrusionOk="0">
                <a:moveTo>
                  <a:pt x="0" y="18443"/>
                </a:moveTo>
                <a:lnTo>
                  <a:pt x="20336" y="18443"/>
                </a:lnTo>
                <a:cubicBezTo>
                  <a:pt x="24075" y="18443"/>
                  <a:pt x="27111" y="15407"/>
                  <a:pt x="27111" y="11669"/>
                </a:cubicBezTo>
                <a:lnTo>
                  <a:pt x="27111" y="1"/>
                </a:lnTo>
              </a:path>
            </a:pathLst>
          </a:custGeom>
          <a:ln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34" name="Google Shape;1806;p47">
            <a:extLst>
              <a:ext uri="{FF2B5EF4-FFF2-40B4-BE49-F238E27FC236}">
                <a16:creationId xmlns:a16="http://schemas.microsoft.com/office/drawing/2014/main" xmlns="" id="{9843DD93-B40B-4648-ADA8-02523D60355B}"/>
              </a:ext>
            </a:extLst>
          </p:cNvPr>
          <p:cNvSpPr/>
          <p:nvPr/>
        </p:nvSpPr>
        <p:spPr>
          <a:xfrm>
            <a:off x="7639612" y="3328846"/>
            <a:ext cx="95740" cy="95281"/>
          </a:xfrm>
          <a:custGeom>
            <a:avLst/>
            <a:gdLst/>
            <a:ahLst/>
            <a:cxnLst/>
            <a:rect l="l" t="t" r="r" b="b"/>
            <a:pathLst>
              <a:path w="2298" h="2287" extrusionOk="0">
                <a:moveTo>
                  <a:pt x="1155" y="0"/>
                </a:moveTo>
                <a:cubicBezTo>
                  <a:pt x="524" y="0"/>
                  <a:pt x="0" y="512"/>
                  <a:pt x="0" y="1143"/>
                </a:cubicBezTo>
                <a:cubicBezTo>
                  <a:pt x="0" y="1774"/>
                  <a:pt x="524" y="2286"/>
                  <a:pt x="1155" y="2286"/>
                </a:cubicBezTo>
                <a:cubicBezTo>
                  <a:pt x="1786" y="2286"/>
                  <a:pt x="2298" y="1774"/>
                  <a:pt x="2298" y="1143"/>
                </a:cubicBezTo>
                <a:cubicBezTo>
                  <a:pt x="2298" y="512"/>
                  <a:pt x="1786" y="0"/>
                  <a:pt x="1155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38" name="Google Shape;1811;p47">
            <a:extLst>
              <a:ext uri="{FF2B5EF4-FFF2-40B4-BE49-F238E27FC236}">
                <a16:creationId xmlns:a16="http://schemas.microsoft.com/office/drawing/2014/main" xmlns="" id="{97B1C961-5D5B-4341-88B2-93EBB512BA52}"/>
              </a:ext>
            </a:extLst>
          </p:cNvPr>
          <p:cNvSpPr/>
          <p:nvPr/>
        </p:nvSpPr>
        <p:spPr>
          <a:xfrm>
            <a:off x="7564179" y="4899712"/>
            <a:ext cx="1259659" cy="1178627"/>
          </a:xfrm>
          <a:custGeom>
            <a:avLst/>
            <a:gdLst/>
            <a:ahLst/>
            <a:cxnLst/>
            <a:rect l="l" t="t" r="r" b="b"/>
            <a:pathLst>
              <a:path w="23623" h="21813" extrusionOk="0">
                <a:moveTo>
                  <a:pt x="19050" y="21813"/>
                </a:moveTo>
                <a:lnTo>
                  <a:pt x="4572" y="21813"/>
                </a:lnTo>
                <a:cubicBezTo>
                  <a:pt x="2048" y="21813"/>
                  <a:pt x="0" y="19765"/>
                  <a:pt x="0" y="17241"/>
                </a:cubicBezTo>
                <a:lnTo>
                  <a:pt x="0" y="4573"/>
                </a:lnTo>
                <a:cubicBezTo>
                  <a:pt x="0" y="2048"/>
                  <a:pt x="2048" y="1"/>
                  <a:pt x="4572" y="1"/>
                </a:cubicBezTo>
                <a:lnTo>
                  <a:pt x="19050" y="1"/>
                </a:lnTo>
                <a:cubicBezTo>
                  <a:pt x="21574" y="1"/>
                  <a:pt x="23622" y="2048"/>
                  <a:pt x="23622" y="4573"/>
                </a:cubicBezTo>
                <a:lnTo>
                  <a:pt x="23622" y="17241"/>
                </a:lnTo>
                <a:cubicBezTo>
                  <a:pt x="23622" y="19765"/>
                  <a:pt x="21574" y="21813"/>
                  <a:pt x="19050" y="2181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39" name="Google Shape;1812;p47">
            <a:extLst>
              <a:ext uri="{FF2B5EF4-FFF2-40B4-BE49-F238E27FC236}">
                <a16:creationId xmlns:a16="http://schemas.microsoft.com/office/drawing/2014/main" xmlns="" id="{D5ED90D5-6767-4861-9F76-59AB5D718155}"/>
              </a:ext>
            </a:extLst>
          </p:cNvPr>
          <p:cNvSpPr/>
          <p:nvPr/>
        </p:nvSpPr>
        <p:spPr>
          <a:xfrm>
            <a:off x="7713065" y="5010459"/>
            <a:ext cx="1184683" cy="1143699"/>
          </a:xfrm>
          <a:custGeom>
            <a:avLst/>
            <a:gdLst/>
            <a:ahLst/>
            <a:cxnLst/>
            <a:rect l="l" t="t" r="r" b="b"/>
            <a:pathLst>
              <a:path w="23635" h="21813" fill="none" extrusionOk="0">
                <a:moveTo>
                  <a:pt x="19062" y="21813"/>
                </a:moveTo>
                <a:lnTo>
                  <a:pt x="4572" y="21813"/>
                </a:lnTo>
                <a:cubicBezTo>
                  <a:pt x="2048" y="21813"/>
                  <a:pt x="0" y="19765"/>
                  <a:pt x="0" y="17241"/>
                </a:cubicBezTo>
                <a:lnTo>
                  <a:pt x="0" y="4573"/>
                </a:lnTo>
                <a:cubicBezTo>
                  <a:pt x="0" y="2049"/>
                  <a:pt x="2048" y="1"/>
                  <a:pt x="4572" y="1"/>
                </a:cubicBezTo>
                <a:lnTo>
                  <a:pt x="19062" y="1"/>
                </a:lnTo>
                <a:cubicBezTo>
                  <a:pt x="21586" y="1"/>
                  <a:pt x="23634" y="2049"/>
                  <a:pt x="23634" y="4573"/>
                </a:cubicBezTo>
                <a:lnTo>
                  <a:pt x="23634" y="17241"/>
                </a:lnTo>
                <a:cubicBezTo>
                  <a:pt x="23634" y="19765"/>
                  <a:pt x="21586" y="21813"/>
                  <a:pt x="19062" y="21813"/>
                </a:cubicBezTo>
                <a:close/>
              </a:path>
            </a:pathLst>
          </a:custGeom>
          <a:noFill/>
          <a:ln w="7450" cap="flat" cmpd="sng">
            <a:solidFill>
              <a:schemeClr val="dk1"/>
            </a:solidFill>
            <a:prstDash val="solid"/>
            <a:miter lim="11906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40" name="Google Shape;1813;p47">
            <a:extLst>
              <a:ext uri="{FF2B5EF4-FFF2-40B4-BE49-F238E27FC236}">
                <a16:creationId xmlns:a16="http://schemas.microsoft.com/office/drawing/2014/main" xmlns="" id="{D101F2E6-64B2-4B5C-B58F-1F12BAAEC2C6}"/>
              </a:ext>
            </a:extLst>
          </p:cNvPr>
          <p:cNvSpPr/>
          <p:nvPr/>
        </p:nvSpPr>
        <p:spPr>
          <a:xfrm>
            <a:off x="6667859" y="5052364"/>
            <a:ext cx="1496092" cy="1696987"/>
          </a:xfrm>
          <a:custGeom>
            <a:avLst/>
            <a:gdLst/>
            <a:ahLst/>
            <a:cxnLst/>
            <a:rect l="l" t="t" r="r" b="b"/>
            <a:pathLst>
              <a:path w="35910" h="40732" fill="none" extrusionOk="0">
                <a:moveTo>
                  <a:pt x="1" y="1"/>
                </a:moveTo>
                <a:lnTo>
                  <a:pt x="1" y="35588"/>
                </a:lnTo>
                <a:cubicBezTo>
                  <a:pt x="1" y="38434"/>
                  <a:pt x="2311" y="40732"/>
                  <a:pt x="5156" y="40732"/>
                </a:cubicBezTo>
                <a:lnTo>
                  <a:pt x="29421" y="40732"/>
                </a:lnTo>
                <a:cubicBezTo>
                  <a:pt x="33005" y="40732"/>
                  <a:pt x="35910" y="37827"/>
                  <a:pt x="35910" y="34243"/>
                </a:cubicBezTo>
                <a:lnTo>
                  <a:pt x="35910" y="27266"/>
                </a:lnTo>
              </a:path>
            </a:pathLst>
          </a:custGeom>
          <a:ln>
            <a:headEnd type="none" w="sm" len="sm"/>
            <a:tailEnd type="non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41" name="Google Shape;1814;p47">
            <a:extLst>
              <a:ext uri="{FF2B5EF4-FFF2-40B4-BE49-F238E27FC236}">
                <a16:creationId xmlns:a16="http://schemas.microsoft.com/office/drawing/2014/main" xmlns="" id="{52358116-C35E-4FFB-9844-1CE321AF7860}"/>
              </a:ext>
            </a:extLst>
          </p:cNvPr>
          <p:cNvSpPr/>
          <p:nvPr/>
        </p:nvSpPr>
        <p:spPr>
          <a:xfrm>
            <a:off x="6831174" y="4803974"/>
            <a:ext cx="95781" cy="95781"/>
          </a:xfrm>
          <a:custGeom>
            <a:avLst/>
            <a:gdLst/>
            <a:ahLst/>
            <a:cxnLst/>
            <a:rect l="l" t="t" r="r" b="b"/>
            <a:pathLst>
              <a:path w="2299" h="2299" extrusionOk="0">
                <a:moveTo>
                  <a:pt x="1144" y="1"/>
                </a:moveTo>
                <a:cubicBezTo>
                  <a:pt x="513" y="1"/>
                  <a:pt x="1" y="513"/>
                  <a:pt x="1" y="1156"/>
                </a:cubicBezTo>
                <a:cubicBezTo>
                  <a:pt x="1" y="1787"/>
                  <a:pt x="513" y="2299"/>
                  <a:pt x="1144" y="2299"/>
                </a:cubicBezTo>
                <a:cubicBezTo>
                  <a:pt x="1787" y="2299"/>
                  <a:pt x="2299" y="1787"/>
                  <a:pt x="2299" y="1156"/>
                </a:cubicBezTo>
                <a:cubicBezTo>
                  <a:pt x="2299" y="513"/>
                  <a:pt x="1787" y="1"/>
                  <a:pt x="1144" y="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38" y="271377"/>
            <a:ext cx="3011485" cy="1180501"/>
          </a:xfrm>
          <a:prstGeom prst="rect">
            <a:avLst/>
          </a:prstGeom>
        </p:spPr>
      </p:pic>
      <p:sp>
        <p:nvSpPr>
          <p:cNvPr id="47" name="Rectangle 59"/>
          <p:cNvSpPr>
            <a:spLocks noChangeArrowheads="1"/>
          </p:cNvSpPr>
          <p:nvPr/>
        </p:nvSpPr>
        <p:spPr bwMode="auto">
          <a:xfrm>
            <a:off x="669534" y="3064556"/>
            <a:ext cx="1623783" cy="31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altLang="zh-CN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Телевидение</a:t>
            </a:r>
            <a:endParaRPr lang="ru-RU" altLang="zh-CN" sz="16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  <p:sp>
        <p:nvSpPr>
          <p:cNvPr id="48" name="Rectangle 59"/>
          <p:cNvSpPr>
            <a:spLocks noChangeArrowheads="1"/>
          </p:cNvSpPr>
          <p:nvPr/>
        </p:nvSpPr>
        <p:spPr bwMode="auto">
          <a:xfrm>
            <a:off x="240542" y="3429037"/>
            <a:ext cx="2614457" cy="623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zh-CN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информационные ролик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zh-CN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новост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zh-CN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прямые эфиры</a:t>
            </a:r>
          </a:p>
        </p:txBody>
      </p:sp>
      <p:sp>
        <p:nvSpPr>
          <p:cNvPr id="52" name="Rectangle 59"/>
          <p:cNvSpPr>
            <a:spLocks noChangeArrowheads="1"/>
          </p:cNvSpPr>
          <p:nvPr/>
        </p:nvSpPr>
        <p:spPr bwMode="auto">
          <a:xfrm>
            <a:off x="669534" y="5235031"/>
            <a:ext cx="2857047" cy="31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altLang="zh-CN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Раздаточный материал</a:t>
            </a:r>
          </a:p>
        </p:txBody>
      </p:sp>
      <p:sp>
        <p:nvSpPr>
          <p:cNvPr id="53" name="Rectangle 59"/>
          <p:cNvSpPr>
            <a:spLocks noChangeArrowheads="1"/>
          </p:cNvSpPr>
          <p:nvPr/>
        </p:nvSpPr>
        <p:spPr bwMode="auto">
          <a:xfrm>
            <a:off x="240542" y="5601004"/>
            <a:ext cx="3870477" cy="623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zh-CN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буклет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zh-CN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информационные плакат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zh-CN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объявления о собраниях</a:t>
            </a:r>
          </a:p>
        </p:txBody>
      </p:sp>
      <p:sp>
        <p:nvSpPr>
          <p:cNvPr id="55" name="Rectangle 59"/>
          <p:cNvSpPr>
            <a:spLocks noChangeArrowheads="1"/>
          </p:cNvSpPr>
          <p:nvPr/>
        </p:nvSpPr>
        <p:spPr bwMode="auto">
          <a:xfrm>
            <a:off x="669534" y="4194913"/>
            <a:ext cx="2109372" cy="31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altLang="zh-CN" sz="16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Радиовещание</a:t>
            </a:r>
            <a:endParaRPr lang="ru-RU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8169584" y="1560588"/>
            <a:ext cx="900276" cy="86209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602332" y="2424479"/>
            <a:ext cx="512301" cy="453511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1" name="Picture 2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92061" y="1476976"/>
            <a:ext cx="1544437" cy="1038065"/>
          </a:xfrm>
          <a:prstGeom prst="rect">
            <a:avLst/>
          </a:prstGeom>
          <a:noFill/>
        </p:spPr>
      </p:pic>
      <p:sp>
        <p:nvSpPr>
          <p:cNvPr id="3" name="Скругленный прямоугольник 2"/>
          <p:cNvSpPr/>
          <p:nvPr/>
        </p:nvSpPr>
        <p:spPr>
          <a:xfrm>
            <a:off x="7833025" y="5121413"/>
            <a:ext cx="889583" cy="845586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3" name="Picture 2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27501" y="5025173"/>
            <a:ext cx="1544437" cy="1038065"/>
          </a:xfrm>
          <a:prstGeom prst="rect">
            <a:avLst/>
          </a:prstGeom>
          <a:noFill/>
        </p:spPr>
      </p:pic>
      <p:sp>
        <p:nvSpPr>
          <p:cNvPr id="65" name="Скругленный прямоугольник 64"/>
          <p:cNvSpPr/>
          <p:nvPr/>
        </p:nvSpPr>
        <p:spPr>
          <a:xfrm>
            <a:off x="3052998" y="2422683"/>
            <a:ext cx="471763" cy="45363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7" name="Picture 7" descr="Картинки по запросу radio pn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4064" y="2254154"/>
            <a:ext cx="669340" cy="669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Скругленный прямоугольник 65"/>
          <p:cNvSpPr/>
          <p:nvPr/>
        </p:nvSpPr>
        <p:spPr>
          <a:xfrm>
            <a:off x="3298031" y="2935948"/>
            <a:ext cx="576294" cy="358920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0" name="Picture 2" descr="https://portal.iv-edu.ru/dep/mouorodnrn/rodn_mkdou15/DocLib/%D0%98%D0%BA%D0%BE%D0%BD%D0%BA%D0%B8/%D0%B8%D0%BA%D0%BE%D0%BD%D0%BA%D0%B0%20%D0%B3%D0%B0%D0%B7%D0%B5%D1%82%D0%B0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5787" y="2945951"/>
            <a:ext cx="544700" cy="339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Freeform 18"/>
          <p:cNvSpPr>
            <a:spLocks noEditPoints="1"/>
          </p:cNvSpPr>
          <p:nvPr/>
        </p:nvSpPr>
        <p:spPr bwMode="auto">
          <a:xfrm>
            <a:off x="3127871" y="2422684"/>
            <a:ext cx="354689" cy="410932"/>
          </a:xfrm>
          <a:custGeom>
            <a:avLst/>
            <a:gdLst>
              <a:gd name="T0" fmla="*/ 246 w 1338"/>
              <a:gd name="T1" fmla="*/ 1529 h 1597"/>
              <a:gd name="T2" fmla="*/ 2 w 1338"/>
              <a:gd name="T3" fmla="*/ 1203 h 1597"/>
              <a:gd name="T4" fmla="*/ 262 w 1338"/>
              <a:gd name="T5" fmla="*/ 521 h 1597"/>
              <a:gd name="T6" fmla="*/ 496 w 1338"/>
              <a:gd name="T7" fmla="*/ 513 h 1597"/>
              <a:gd name="T8" fmla="*/ 587 w 1338"/>
              <a:gd name="T9" fmla="*/ 424 h 1597"/>
              <a:gd name="T10" fmla="*/ 385 w 1338"/>
              <a:gd name="T11" fmla="*/ 111 h 1597"/>
              <a:gd name="T12" fmla="*/ 324 w 1338"/>
              <a:gd name="T13" fmla="*/ 44 h 1597"/>
              <a:gd name="T14" fmla="*/ 415 w 1338"/>
              <a:gd name="T15" fmla="*/ 66 h 1597"/>
              <a:gd name="T16" fmla="*/ 619 w 1338"/>
              <a:gd name="T17" fmla="*/ 400 h 1597"/>
              <a:gd name="T18" fmla="*/ 702 w 1338"/>
              <a:gd name="T19" fmla="*/ 410 h 1597"/>
              <a:gd name="T20" fmla="*/ 827 w 1338"/>
              <a:gd name="T21" fmla="*/ 235 h 1597"/>
              <a:gd name="T22" fmla="*/ 844 w 1338"/>
              <a:gd name="T23" fmla="*/ 161 h 1597"/>
              <a:gd name="T24" fmla="*/ 921 w 1338"/>
              <a:gd name="T25" fmla="*/ 213 h 1597"/>
              <a:gd name="T26" fmla="*/ 863 w 1338"/>
              <a:gd name="T27" fmla="*/ 253 h 1597"/>
              <a:gd name="T28" fmla="*/ 801 w 1338"/>
              <a:gd name="T29" fmla="*/ 458 h 1597"/>
              <a:gd name="T30" fmla="*/ 843 w 1338"/>
              <a:gd name="T31" fmla="*/ 513 h 1597"/>
              <a:gd name="T32" fmla="*/ 1301 w 1338"/>
              <a:gd name="T33" fmla="*/ 690 h 1597"/>
              <a:gd name="T34" fmla="*/ 1338 w 1338"/>
              <a:gd name="T35" fmla="*/ 1192 h 1597"/>
              <a:gd name="T36" fmla="*/ 1093 w 1338"/>
              <a:gd name="T37" fmla="*/ 1527 h 1597"/>
              <a:gd name="T38" fmla="*/ 1067 w 1338"/>
              <a:gd name="T39" fmla="*/ 1597 h 1597"/>
              <a:gd name="T40" fmla="*/ 993 w 1338"/>
              <a:gd name="T41" fmla="*/ 1523 h 1597"/>
              <a:gd name="T42" fmla="*/ 326 w 1338"/>
              <a:gd name="T43" fmla="*/ 1534 h 1597"/>
              <a:gd name="T44" fmla="*/ 259 w 1338"/>
              <a:gd name="T45" fmla="*/ 1597 h 1597"/>
              <a:gd name="T46" fmla="*/ 937 w 1338"/>
              <a:gd name="T47" fmla="*/ 1333 h 1597"/>
              <a:gd name="T48" fmla="*/ 1009 w 1338"/>
              <a:gd name="T49" fmla="*/ 778 h 1597"/>
              <a:gd name="T50" fmla="*/ 234 w 1338"/>
              <a:gd name="T51" fmla="*/ 705 h 1597"/>
              <a:gd name="T52" fmla="*/ 160 w 1338"/>
              <a:gd name="T53" fmla="*/ 1259 h 1597"/>
              <a:gd name="T54" fmla="*/ 584 w 1338"/>
              <a:gd name="T55" fmla="*/ 1333 h 1597"/>
              <a:gd name="T56" fmla="*/ 1146 w 1338"/>
              <a:gd name="T57" fmla="*/ 775 h 1597"/>
              <a:gd name="T58" fmla="*/ 1145 w 1338"/>
              <a:gd name="T59" fmla="*/ 926 h 1597"/>
              <a:gd name="T60" fmla="*/ 1220 w 1338"/>
              <a:gd name="T61" fmla="*/ 1145 h 1597"/>
              <a:gd name="T62" fmla="*/ 1070 w 1338"/>
              <a:gd name="T63" fmla="*/ 1143 h 1597"/>
              <a:gd name="T64" fmla="*/ 1220 w 1338"/>
              <a:gd name="T65" fmla="*/ 1145 h 1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338" h="1597">
                <a:moveTo>
                  <a:pt x="259" y="1597"/>
                </a:moveTo>
                <a:cubicBezTo>
                  <a:pt x="243" y="1576"/>
                  <a:pt x="246" y="1552"/>
                  <a:pt x="246" y="1529"/>
                </a:cubicBezTo>
                <a:cubicBezTo>
                  <a:pt x="246" y="1518"/>
                  <a:pt x="244" y="1513"/>
                  <a:pt x="232" y="1509"/>
                </a:cubicBezTo>
                <a:cubicBezTo>
                  <a:pt x="96" y="1467"/>
                  <a:pt x="4" y="1346"/>
                  <a:pt x="2" y="1203"/>
                </a:cubicBezTo>
                <a:cubicBezTo>
                  <a:pt x="0" y="1081"/>
                  <a:pt x="0" y="959"/>
                  <a:pt x="2" y="836"/>
                </a:cubicBezTo>
                <a:cubicBezTo>
                  <a:pt x="4" y="680"/>
                  <a:pt x="109" y="554"/>
                  <a:pt x="262" y="521"/>
                </a:cubicBezTo>
                <a:cubicBezTo>
                  <a:pt x="287" y="515"/>
                  <a:pt x="313" y="514"/>
                  <a:pt x="339" y="513"/>
                </a:cubicBezTo>
                <a:cubicBezTo>
                  <a:pt x="391" y="512"/>
                  <a:pt x="443" y="513"/>
                  <a:pt x="496" y="513"/>
                </a:cubicBezTo>
                <a:cubicBezTo>
                  <a:pt x="501" y="513"/>
                  <a:pt x="507" y="513"/>
                  <a:pt x="513" y="513"/>
                </a:cubicBezTo>
                <a:cubicBezTo>
                  <a:pt x="518" y="467"/>
                  <a:pt x="548" y="442"/>
                  <a:pt x="587" y="424"/>
                </a:cubicBezTo>
                <a:cubicBezTo>
                  <a:pt x="584" y="419"/>
                  <a:pt x="582" y="414"/>
                  <a:pt x="579" y="410"/>
                </a:cubicBezTo>
                <a:cubicBezTo>
                  <a:pt x="514" y="311"/>
                  <a:pt x="449" y="211"/>
                  <a:pt x="385" y="111"/>
                </a:cubicBezTo>
                <a:cubicBezTo>
                  <a:pt x="380" y="103"/>
                  <a:pt x="375" y="99"/>
                  <a:pt x="365" y="99"/>
                </a:cubicBezTo>
                <a:cubicBezTo>
                  <a:pt x="337" y="97"/>
                  <a:pt x="319" y="72"/>
                  <a:pt x="324" y="44"/>
                </a:cubicBezTo>
                <a:cubicBezTo>
                  <a:pt x="328" y="18"/>
                  <a:pt x="354" y="0"/>
                  <a:pt x="380" y="6"/>
                </a:cubicBezTo>
                <a:cubicBezTo>
                  <a:pt x="407" y="12"/>
                  <a:pt x="423" y="40"/>
                  <a:pt x="415" y="66"/>
                </a:cubicBezTo>
                <a:cubicBezTo>
                  <a:pt x="411" y="75"/>
                  <a:pt x="412" y="82"/>
                  <a:pt x="418" y="90"/>
                </a:cubicBezTo>
                <a:cubicBezTo>
                  <a:pt x="485" y="193"/>
                  <a:pt x="552" y="296"/>
                  <a:pt x="619" y="400"/>
                </a:cubicBezTo>
                <a:cubicBezTo>
                  <a:pt x="624" y="408"/>
                  <a:pt x="629" y="411"/>
                  <a:pt x="640" y="410"/>
                </a:cubicBezTo>
                <a:cubicBezTo>
                  <a:pt x="660" y="409"/>
                  <a:pt x="681" y="410"/>
                  <a:pt x="702" y="410"/>
                </a:cubicBezTo>
                <a:cubicBezTo>
                  <a:pt x="707" y="409"/>
                  <a:pt x="715" y="407"/>
                  <a:pt x="718" y="403"/>
                </a:cubicBezTo>
                <a:cubicBezTo>
                  <a:pt x="754" y="347"/>
                  <a:pt x="791" y="291"/>
                  <a:pt x="827" y="235"/>
                </a:cubicBezTo>
                <a:cubicBezTo>
                  <a:pt x="830" y="230"/>
                  <a:pt x="830" y="222"/>
                  <a:pt x="828" y="217"/>
                </a:cubicBezTo>
                <a:cubicBezTo>
                  <a:pt x="821" y="195"/>
                  <a:pt x="827" y="174"/>
                  <a:pt x="844" y="161"/>
                </a:cubicBezTo>
                <a:cubicBezTo>
                  <a:pt x="860" y="148"/>
                  <a:pt x="883" y="147"/>
                  <a:pt x="900" y="158"/>
                </a:cubicBezTo>
                <a:cubicBezTo>
                  <a:pt x="918" y="170"/>
                  <a:pt x="926" y="192"/>
                  <a:pt x="921" y="213"/>
                </a:cubicBezTo>
                <a:cubicBezTo>
                  <a:pt x="915" y="233"/>
                  <a:pt x="897" y="246"/>
                  <a:pt x="876" y="248"/>
                </a:cubicBezTo>
                <a:cubicBezTo>
                  <a:pt x="871" y="248"/>
                  <a:pt x="865" y="250"/>
                  <a:pt x="863" y="253"/>
                </a:cubicBezTo>
                <a:cubicBezTo>
                  <a:pt x="826" y="309"/>
                  <a:pt x="789" y="366"/>
                  <a:pt x="753" y="421"/>
                </a:cubicBezTo>
                <a:cubicBezTo>
                  <a:pt x="770" y="434"/>
                  <a:pt x="787" y="445"/>
                  <a:pt x="801" y="458"/>
                </a:cubicBezTo>
                <a:cubicBezTo>
                  <a:pt x="816" y="472"/>
                  <a:pt x="824" y="490"/>
                  <a:pt x="826" y="513"/>
                </a:cubicBezTo>
                <a:cubicBezTo>
                  <a:pt x="831" y="513"/>
                  <a:pt x="837" y="513"/>
                  <a:pt x="843" y="513"/>
                </a:cubicBezTo>
                <a:cubicBezTo>
                  <a:pt x="907" y="514"/>
                  <a:pt x="971" y="511"/>
                  <a:pt x="1034" y="516"/>
                </a:cubicBezTo>
                <a:cubicBezTo>
                  <a:pt x="1155" y="524"/>
                  <a:pt x="1243" y="585"/>
                  <a:pt x="1301" y="690"/>
                </a:cubicBezTo>
                <a:cubicBezTo>
                  <a:pt x="1327" y="738"/>
                  <a:pt x="1338" y="791"/>
                  <a:pt x="1338" y="846"/>
                </a:cubicBezTo>
                <a:cubicBezTo>
                  <a:pt x="1338" y="961"/>
                  <a:pt x="1338" y="1077"/>
                  <a:pt x="1338" y="1192"/>
                </a:cubicBezTo>
                <a:cubicBezTo>
                  <a:pt x="1337" y="1342"/>
                  <a:pt x="1248" y="1464"/>
                  <a:pt x="1105" y="1509"/>
                </a:cubicBezTo>
                <a:cubicBezTo>
                  <a:pt x="1095" y="1513"/>
                  <a:pt x="1093" y="1517"/>
                  <a:pt x="1093" y="1527"/>
                </a:cubicBezTo>
                <a:cubicBezTo>
                  <a:pt x="1093" y="1551"/>
                  <a:pt x="1096" y="1576"/>
                  <a:pt x="1080" y="1597"/>
                </a:cubicBezTo>
                <a:cubicBezTo>
                  <a:pt x="1076" y="1597"/>
                  <a:pt x="1072" y="1597"/>
                  <a:pt x="1067" y="1597"/>
                </a:cubicBezTo>
                <a:cubicBezTo>
                  <a:pt x="1049" y="1576"/>
                  <a:pt x="1031" y="1556"/>
                  <a:pt x="1013" y="1534"/>
                </a:cubicBezTo>
                <a:cubicBezTo>
                  <a:pt x="1007" y="1527"/>
                  <a:pt x="1003" y="1523"/>
                  <a:pt x="993" y="1523"/>
                </a:cubicBezTo>
                <a:cubicBezTo>
                  <a:pt x="777" y="1523"/>
                  <a:pt x="562" y="1523"/>
                  <a:pt x="346" y="1523"/>
                </a:cubicBezTo>
                <a:cubicBezTo>
                  <a:pt x="336" y="1523"/>
                  <a:pt x="332" y="1527"/>
                  <a:pt x="326" y="1534"/>
                </a:cubicBezTo>
                <a:cubicBezTo>
                  <a:pt x="308" y="1556"/>
                  <a:pt x="290" y="1576"/>
                  <a:pt x="272" y="1597"/>
                </a:cubicBezTo>
                <a:cubicBezTo>
                  <a:pt x="267" y="1597"/>
                  <a:pt x="263" y="1597"/>
                  <a:pt x="259" y="1597"/>
                </a:cubicBezTo>
                <a:close/>
                <a:moveTo>
                  <a:pt x="584" y="1333"/>
                </a:moveTo>
                <a:cubicBezTo>
                  <a:pt x="702" y="1333"/>
                  <a:pt x="819" y="1333"/>
                  <a:pt x="937" y="1333"/>
                </a:cubicBezTo>
                <a:cubicBezTo>
                  <a:pt x="983" y="1333"/>
                  <a:pt x="1009" y="1308"/>
                  <a:pt x="1009" y="1261"/>
                </a:cubicBezTo>
                <a:cubicBezTo>
                  <a:pt x="1009" y="1100"/>
                  <a:pt x="1009" y="939"/>
                  <a:pt x="1009" y="778"/>
                </a:cubicBezTo>
                <a:cubicBezTo>
                  <a:pt x="1009" y="729"/>
                  <a:pt x="984" y="705"/>
                  <a:pt x="935" y="705"/>
                </a:cubicBezTo>
                <a:cubicBezTo>
                  <a:pt x="701" y="705"/>
                  <a:pt x="468" y="705"/>
                  <a:pt x="234" y="705"/>
                </a:cubicBezTo>
                <a:cubicBezTo>
                  <a:pt x="184" y="705"/>
                  <a:pt x="160" y="729"/>
                  <a:pt x="160" y="779"/>
                </a:cubicBezTo>
                <a:cubicBezTo>
                  <a:pt x="159" y="939"/>
                  <a:pt x="159" y="1099"/>
                  <a:pt x="160" y="1259"/>
                </a:cubicBezTo>
                <a:cubicBezTo>
                  <a:pt x="160" y="1308"/>
                  <a:pt x="185" y="1333"/>
                  <a:pt x="233" y="1333"/>
                </a:cubicBezTo>
                <a:cubicBezTo>
                  <a:pt x="350" y="1333"/>
                  <a:pt x="467" y="1333"/>
                  <a:pt x="584" y="1333"/>
                </a:cubicBezTo>
                <a:close/>
                <a:moveTo>
                  <a:pt x="1220" y="851"/>
                </a:moveTo>
                <a:cubicBezTo>
                  <a:pt x="1220" y="809"/>
                  <a:pt x="1188" y="776"/>
                  <a:pt x="1146" y="775"/>
                </a:cubicBezTo>
                <a:cubicBezTo>
                  <a:pt x="1103" y="775"/>
                  <a:pt x="1070" y="808"/>
                  <a:pt x="1070" y="851"/>
                </a:cubicBezTo>
                <a:cubicBezTo>
                  <a:pt x="1070" y="892"/>
                  <a:pt x="1104" y="926"/>
                  <a:pt x="1145" y="926"/>
                </a:cubicBezTo>
                <a:cubicBezTo>
                  <a:pt x="1187" y="926"/>
                  <a:pt x="1220" y="892"/>
                  <a:pt x="1220" y="851"/>
                </a:cubicBezTo>
                <a:close/>
                <a:moveTo>
                  <a:pt x="1220" y="1145"/>
                </a:moveTo>
                <a:cubicBezTo>
                  <a:pt x="1221" y="1103"/>
                  <a:pt x="1188" y="1069"/>
                  <a:pt x="1147" y="1068"/>
                </a:cubicBezTo>
                <a:cubicBezTo>
                  <a:pt x="1105" y="1067"/>
                  <a:pt x="1070" y="1101"/>
                  <a:pt x="1070" y="1143"/>
                </a:cubicBezTo>
                <a:cubicBezTo>
                  <a:pt x="1070" y="1185"/>
                  <a:pt x="1102" y="1218"/>
                  <a:pt x="1144" y="1219"/>
                </a:cubicBezTo>
                <a:cubicBezTo>
                  <a:pt x="1186" y="1219"/>
                  <a:pt x="1220" y="1187"/>
                  <a:pt x="1220" y="1145"/>
                </a:cubicBezTo>
                <a:close/>
              </a:path>
            </a:pathLst>
          </a:custGeom>
          <a:gradFill>
            <a:gsLst>
              <a:gs pos="13000">
                <a:srgbClr val="7FADA9"/>
              </a:gs>
              <a:gs pos="100000">
                <a:srgbClr val="9CC58C"/>
              </a:gs>
            </a:gsLst>
            <a:lin ang="0" scaled="1"/>
          </a:gradFill>
          <a:ln>
            <a:noFill/>
          </a:ln>
          <a:effectLst>
            <a:glow rad="101600">
              <a:schemeClr val="bg1"/>
            </a:glo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7" name="TextBox 11"/>
          <p:cNvSpPr txBox="1">
            <a:spLocks noChangeArrowheads="1"/>
          </p:cNvSpPr>
          <p:nvPr/>
        </p:nvSpPr>
        <p:spPr bwMode="auto">
          <a:xfrm flipH="1">
            <a:off x="9445330" y="1565806"/>
            <a:ext cx="2614865" cy="715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ru-RU" altLang="zh-CN" sz="1400" dirty="0" smtClean="0"/>
              <a:t>Кустовые семинары </a:t>
            </a:r>
            <a:r>
              <a:rPr lang="ru-RU" sz="1400" dirty="0" smtClean="0"/>
              <a:t>для представителей местных администраций</a:t>
            </a:r>
            <a:endParaRPr lang="ru-RU" altLang="zh-CN" sz="1400" dirty="0"/>
          </a:p>
        </p:txBody>
      </p:sp>
      <p:sp>
        <p:nvSpPr>
          <p:cNvPr id="68" name="TextBox 11"/>
          <p:cNvSpPr txBox="1">
            <a:spLocks noChangeArrowheads="1"/>
          </p:cNvSpPr>
          <p:nvPr/>
        </p:nvSpPr>
        <p:spPr bwMode="auto">
          <a:xfrm flipH="1">
            <a:off x="9108616" y="5040772"/>
            <a:ext cx="2844238" cy="715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just"/>
            <a:r>
              <a:rPr lang="ru-RU" altLang="zh-CN" sz="1400" dirty="0" smtClean="0"/>
              <a:t>Обучающие мероприяти</a:t>
            </a:r>
            <a:r>
              <a:rPr lang="ru-RU" altLang="zh-CN" sz="1400" dirty="0"/>
              <a:t>я</a:t>
            </a:r>
            <a:endParaRPr lang="en-US" altLang="zh-CN" sz="1400" dirty="0"/>
          </a:p>
          <a:p>
            <a:r>
              <a:rPr lang="ru-RU" altLang="zh-CN" sz="1400" dirty="0"/>
              <a:t>с инициативными </a:t>
            </a:r>
            <a:r>
              <a:rPr lang="ru-RU" altLang="zh-CN" sz="1400" dirty="0" smtClean="0"/>
              <a:t>группами</a:t>
            </a:r>
          </a:p>
          <a:p>
            <a:r>
              <a:rPr lang="ru-RU" sz="1400" dirty="0" smtClean="0"/>
              <a:t>жителей</a:t>
            </a:r>
            <a:endParaRPr lang="ru-RU" altLang="zh-CN" sz="1400" dirty="0"/>
          </a:p>
        </p:txBody>
      </p:sp>
      <p:sp>
        <p:nvSpPr>
          <p:cNvPr id="45" name="Прямоугольник 44"/>
          <p:cNvSpPr/>
          <p:nvPr/>
        </p:nvSpPr>
        <p:spPr>
          <a:xfrm>
            <a:off x="3712104" y="205931"/>
            <a:ext cx="790324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2400" b="1" dirty="0" smtClean="0">
                <a:solidFill>
                  <a:srgbClr val="494949"/>
                </a:solidFill>
                <a:sym typeface="+mn-lt"/>
              </a:rPr>
              <a:t>ШКОЛА МЕСТНЫХ ИНИЦИАТИВ </a:t>
            </a:r>
          </a:p>
          <a:p>
            <a:pPr algn="r"/>
            <a:r>
              <a:rPr lang="ru-RU" altLang="ru-RU" sz="2400" b="1" dirty="0" smtClean="0">
                <a:solidFill>
                  <a:srgbClr val="494949"/>
                </a:solidFill>
                <a:sym typeface="+mn-lt"/>
              </a:rPr>
              <a:t>И ИНФОРМАЦИОННАЯ КАМПАНИЯ</a:t>
            </a:r>
            <a:endParaRPr lang="ru-RU" altLang="ru-RU" sz="2400" b="1" dirty="0">
              <a:solidFill>
                <a:srgbClr val="494949"/>
              </a:solidFill>
              <a:sym typeface="+mn-lt"/>
            </a:endParaRPr>
          </a:p>
        </p:txBody>
      </p:sp>
      <p:sp>
        <p:nvSpPr>
          <p:cNvPr id="51" name="Rectangle 59"/>
          <p:cNvSpPr>
            <a:spLocks noChangeArrowheads="1"/>
          </p:cNvSpPr>
          <p:nvPr/>
        </p:nvSpPr>
        <p:spPr bwMode="auto">
          <a:xfrm>
            <a:off x="238199" y="4552104"/>
            <a:ext cx="2614457" cy="438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zh-CN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рекламные ролики</a:t>
            </a:r>
            <a:endParaRPr lang="ru-RU" altLang="zh-CN" sz="1200" b="1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zh-CN" sz="1200" b="1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прямые эфиры</a:t>
            </a:r>
          </a:p>
        </p:txBody>
      </p:sp>
    </p:spTree>
    <p:extLst>
      <p:ext uri="{BB962C8B-B14F-4D97-AF65-F5344CB8AC3E}">
        <p14:creationId xmlns:p14="http://schemas.microsoft.com/office/powerpoint/2010/main" val="3199726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38" y="271377"/>
            <a:ext cx="3011485" cy="1180501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3712104" y="205931"/>
            <a:ext cx="79032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2400" b="1" dirty="0" smtClean="0">
                <a:solidFill>
                  <a:srgbClr val="494949"/>
                </a:solidFill>
                <a:sym typeface="+mn-lt"/>
              </a:rPr>
              <a:t>ШКОЛА МЕСТНЫХ ИНИЦИАТИВ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9097" y="2669241"/>
            <a:ext cx="5118846" cy="3839135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355" y="969203"/>
            <a:ext cx="5295518" cy="3971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663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38" y="271377"/>
            <a:ext cx="3011485" cy="1180501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3712104" y="205931"/>
            <a:ext cx="79032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2400" b="1" dirty="0" smtClean="0">
                <a:solidFill>
                  <a:srgbClr val="494949"/>
                </a:solidFill>
                <a:sym typeface="+mn-lt"/>
              </a:rPr>
              <a:t>ШКОЛА МЕСТНЫХ ИНИЦИАТИВ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931337" y="1156982"/>
            <a:ext cx="58924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400" b="1" dirty="0" smtClean="0">
                <a:solidFill>
                  <a:sysClr val="windowText" lastClr="000000"/>
                </a:solidFill>
                <a:ea typeface="微软雅黑" panose="020B0503020204020204" pitchFamily="34" charset="-122"/>
                <a:sym typeface="微软雅黑" panose="020B0503020204020204" pitchFamily="34" charset="-122"/>
              </a:rPr>
              <a:t>Выдвижение инициативного проекта</a:t>
            </a:r>
          </a:p>
        </p:txBody>
      </p:sp>
      <p:sp>
        <p:nvSpPr>
          <p:cNvPr id="21" name="Freeform 7"/>
          <p:cNvSpPr>
            <a:spLocks noEditPoints="1"/>
          </p:cNvSpPr>
          <p:nvPr/>
        </p:nvSpPr>
        <p:spPr bwMode="auto">
          <a:xfrm>
            <a:off x="8465305" y="3180719"/>
            <a:ext cx="1156716" cy="2813256"/>
          </a:xfrm>
          <a:custGeom>
            <a:avLst/>
            <a:gdLst>
              <a:gd name="T0" fmla="*/ 625 w 693"/>
              <a:gd name="T1" fmla="*/ 1522 h 1641"/>
              <a:gd name="T2" fmla="*/ 520 w 693"/>
              <a:gd name="T3" fmla="*/ 985 h 1641"/>
              <a:gd name="T4" fmla="*/ 498 w 693"/>
              <a:gd name="T5" fmla="*/ 789 h 1641"/>
              <a:gd name="T6" fmla="*/ 532 w 693"/>
              <a:gd name="T7" fmla="*/ 760 h 1641"/>
              <a:gd name="T8" fmla="*/ 571 w 693"/>
              <a:gd name="T9" fmla="*/ 506 h 1641"/>
              <a:gd name="T10" fmla="*/ 505 w 693"/>
              <a:gd name="T11" fmla="*/ 282 h 1641"/>
              <a:gd name="T12" fmla="*/ 394 w 693"/>
              <a:gd name="T13" fmla="*/ 243 h 1641"/>
              <a:gd name="T14" fmla="*/ 344 w 693"/>
              <a:gd name="T15" fmla="*/ 214 h 1641"/>
              <a:gd name="T16" fmla="*/ 341 w 693"/>
              <a:gd name="T17" fmla="*/ 204 h 1641"/>
              <a:gd name="T18" fmla="*/ 354 w 693"/>
              <a:gd name="T19" fmla="*/ 65 h 1641"/>
              <a:gd name="T20" fmla="*/ 313 w 693"/>
              <a:gd name="T21" fmla="*/ 0 h 1641"/>
              <a:gd name="T22" fmla="*/ 228 w 693"/>
              <a:gd name="T23" fmla="*/ 24 h 1641"/>
              <a:gd name="T24" fmla="*/ 214 w 693"/>
              <a:gd name="T25" fmla="*/ 121 h 1641"/>
              <a:gd name="T26" fmla="*/ 240 w 693"/>
              <a:gd name="T27" fmla="*/ 200 h 1641"/>
              <a:gd name="T28" fmla="*/ 240 w 693"/>
              <a:gd name="T29" fmla="*/ 215 h 1641"/>
              <a:gd name="T30" fmla="*/ 147 w 693"/>
              <a:gd name="T31" fmla="*/ 272 h 1641"/>
              <a:gd name="T32" fmla="*/ 22 w 693"/>
              <a:gd name="T33" fmla="*/ 531 h 1641"/>
              <a:gd name="T34" fmla="*/ 113 w 693"/>
              <a:gd name="T35" fmla="*/ 777 h 1641"/>
              <a:gd name="T36" fmla="*/ 143 w 693"/>
              <a:gd name="T37" fmla="*/ 802 h 1641"/>
              <a:gd name="T38" fmla="*/ 220 w 693"/>
              <a:gd name="T39" fmla="*/ 1183 h 1641"/>
              <a:gd name="T40" fmla="*/ 267 w 693"/>
              <a:gd name="T41" fmla="*/ 1470 h 1641"/>
              <a:gd name="T42" fmla="*/ 231 w 693"/>
              <a:gd name="T43" fmla="*/ 1602 h 1641"/>
              <a:gd name="T44" fmla="*/ 343 w 693"/>
              <a:gd name="T45" fmla="*/ 1595 h 1641"/>
              <a:gd name="T46" fmla="*/ 351 w 693"/>
              <a:gd name="T47" fmla="*/ 1504 h 1641"/>
              <a:gd name="T48" fmla="*/ 342 w 693"/>
              <a:gd name="T49" fmla="*/ 1327 h 1641"/>
              <a:gd name="T50" fmla="*/ 334 w 693"/>
              <a:gd name="T51" fmla="*/ 1168 h 1641"/>
              <a:gd name="T52" fmla="*/ 372 w 693"/>
              <a:gd name="T53" fmla="*/ 991 h 1641"/>
              <a:gd name="T54" fmla="*/ 495 w 693"/>
              <a:gd name="T55" fmla="*/ 1455 h 1641"/>
              <a:gd name="T56" fmla="*/ 553 w 693"/>
              <a:gd name="T57" fmla="*/ 1595 h 1641"/>
              <a:gd name="T58" fmla="*/ 693 w 693"/>
              <a:gd name="T59" fmla="*/ 1628 h 1641"/>
              <a:gd name="T60" fmla="*/ 115 w 693"/>
              <a:gd name="T61" fmla="*/ 608 h 1641"/>
              <a:gd name="T62" fmla="*/ 125 w 693"/>
              <a:gd name="T63" fmla="*/ 524 h 1641"/>
              <a:gd name="T64" fmla="*/ 395 w 693"/>
              <a:gd name="T65" fmla="*/ 690 h 1641"/>
              <a:gd name="T66" fmla="*/ 314 w 693"/>
              <a:gd name="T67" fmla="*/ 307 h 1641"/>
              <a:gd name="T68" fmla="*/ 280 w 693"/>
              <a:gd name="T69" fmla="*/ 291 h 1641"/>
              <a:gd name="T70" fmla="*/ 295 w 693"/>
              <a:gd name="T71" fmla="*/ 485 h 1641"/>
              <a:gd name="T72" fmla="*/ 274 w 693"/>
              <a:gd name="T73" fmla="*/ 687 h 1641"/>
              <a:gd name="T74" fmla="*/ 235 w 693"/>
              <a:gd name="T75" fmla="*/ 542 h 1641"/>
              <a:gd name="T76" fmla="*/ 248 w 693"/>
              <a:gd name="T77" fmla="*/ 225 h 1641"/>
              <a:gd name="T78" fmla="*/ 334 w 693"/>
              <a:gd name="T79" fmla="*/ 227 h 1641"/>
              <a:gd name="T80" fmla="*/ 381 w 693"/>
              <a:gd name="T81" fmla="*/ 413 h 1641"/>
              <a:gd name="T82" fmla="*/ 411 w 693"/>
              <a:gd name="T83" fmla="*/ 689 h 1641"/>
              <a:gd name="T84" fmla="*/ 473 w 693"/>
              <a:gd name="T85" fmla="*/ 485 h 1641"/>
              <a:gd name="T86" fmla="*/ 501 w 693"/>
              <a:gd name="T87" fmla="*/ 576 h 16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93" h="1641">
                <a:moveTo>
                  <a:pt x="669" y="1590"/>
                </a:moveTo>
                <a:cubicBezTo>
                  <a:pt x="650" y="1579"/>
                  <a:pt x="636" y="1550"/>
                  <a:pt x="629" y="1542"/>
                </a:cubicBezTo>
                <a:cubicBezTo>
                  <a:pt x="622" y="1535"/>
                  <a:pt x="631" y="1537"/>
                  <a:pt x="625" y="1522"/>
                </a:cubicBezTo>
                <a:cubicBezTo>
                  <a:pt x="619" y="1507"/>
                  <a:pt x="600" y="1419"/>
                  <a:pt x="597" y="1391"/>
                </a:cubicBezTo>
                <a:cubicBezTo>
                  <a:pt x="593" y="1362"/>
                  <a:pt x="595" y="1265"/>
                  <a:pt x="582" y="1219"/>
                </a:cubicBezTo>
                <a:cubicBezTo>
                  <a:pt x="568" y="1173"/>
                  <a:pt x="526" y="1025"/>
                  <a:pt x="520" y="985"/>
                </a:cubicBezTo>
                <a:cubicBezTo>
                  <a:pt x="514" y="944"/>
                  <a:pt x="505" y="903"/>
                  <a:pt x="505" y="881"/>
                </a:cubicBezTo>
                <a:cubicBezTo>
                  <a:pt x="505" y="858"/>
                  <a:pt x="503" y="843"/>
                  <a:pt x="496" y="827"/>
                </a:cubicBezTo>
                <a:cubicBezTo>
                  <a:pt x="490" y="811"/>
                  <a:pt x="498" y="789"/>
                  <a:pt x="498" y="789"/>
                </a:cubicBezTo>
                <a:cubicBezTo>
                  <a:pt x="498" y="789"/>
                  <a:pt x="514" y="801"/>
                  <a:pt x="524" y="810"/>
                </a:cubicBezTo>
                <a:cubicBezTo>
                  <a:pt x="534" y="819"/>
                  <a:pt x="534" y="805"/>
                  <a:pt x="529" y="785"/>
                </a:cubicBezTo>
                <a:cubicBezTo>
                  <a:pt x="524" y="765"/>
                  <a:pt x="527" y="754"/>
                  <a:pt x="532" y="760"/>
                </a:cubicBezTo>
                <a:cubicBezTo>
                  <a:pt x="537" y="767"/>
                  <a:pt x="541" y="728"/>
                  <a:pt x="553" y="705"/>
                </a:cubicBezTo>
                <a:cubicBezTo>
                  <a:pt x="566" y="681"/>
                  <a:pt x="593" y="633"/>
                  <a:pt x="587" y="606"/>
                </a:cubicBezTo>
                <a:cubicBezTo>
                  <a:pt x="581" y="578"/>
                  <a:pt x="578" y="530"/>
                  <a:pt x="571" y="506"/>
                </a:cubicBezTo>
                <a:cubicBezTo>
                  <a:pt x="563" y="483"/>
                  <a:pt x="556" y="441"/>
                  <a:pt x="547" y="415"/>
                </a:cubicBezTo>
                <a:cubicBezTo>
                  <a:pt x="538" y="389"/>
                  <a:pt x="540" y="376"/>
                  <a:pt x="529" y="350"/>
                </a:cubicBezTo>
                <a:cubicBezTo>
                  <a:pt x="517" y="324"/>
                  <a:pt x="505" y="295"/>
                  <a:pt x="505" y="282"/>
                </a:cubicBezTo>
                <a:cubicBezTo>
                  <a:pt x="505" y="275"/>
                  <a:pt x="502" y="269"/>
                  <a:pt x="491" y="265"/>
                </a:cubicBezTo>
                <a:cubicBezTo>
                  <a:pt x="483" y="261"/>
                  <a:pt x="469" y="258"/>
                  <a:pt x="449" y="255"/>
                </a:cubicBezTo>
                <a:cubicBezTo>
                  <a:pt x="428" y="252"/>
                  <a:pt x="409" y="248"/>
                  <a:pt x="394" y="243"/>
                </a:cubicBezTo>
                <a:cubicBezTo>
                  <a:pt x="393" y="243"/>
                  <a:pt x="392" y="242"/>
                  <a:pt x="391" y="242"/>
                </a:cubicBezTo>
                <a:cubicBezTo>
                  <a:pt x="391" y="242"/>
                  <a:pt x="390" y="242"/>
                  <a:pt x="390" y="242"/>
                </a:cubicBezTo>
                <a:cubicBezTo>
                  <a:pt x="370" y="235"/>
                  <a:pt x="344" y="214"/>
                  <a:pt x="344" y="214"/>
                </a:cubicBezTo>
                <a:cubicBezTo>
                  <a:pt x="336" y="225"/>
                  <a:pt x="336" y="225"/>
                  <a:pt x="336" y="225"/>
                </a:cubicBezTo>
                <a:cubicBezTo>
                  <a:pt x="339" y="221"/>
                  <a:pt x="341" y="218"/>
                  <a:pt x="344" y="214"/>
                </a:cubicBezTo>
                <a:cubicBezTo>
                  <a:pt x="341" y="211"/>
                  <a:pt x="336" y="204"/>
                  <a:pt x="341" y="204"/>
                </a:cubicBezTo>
                <a:cubicBezTo>
                  <a:pt x="352" y="203"/>
                  <a:pt x="354" y="159"/>
                  <a:pt x="360" y="146"/>
                </a:cubicBezTo>
                <a:cubicBezTo>
                  <a:pt x="366" y="133"/>
                  <a:pt x="364" y="124"/>
                  <a:pt x="360" y="112"/>
                </a:cubicBezTo>
                <a:cubicBezTo>
                  <a:pt x="356" y="101"/>
                  <a:pt x="364" y="84"/>
                  <a:pt x="354" y="65"/>
                </a:cubicBezTo>
                <a:cubicBezTo>
                  <a:pt x="344" y="47"/>
                  <a:pt x="358" y="24"/>
                  <a:pt x="344" y="22"/>
                </a:cubicBezTo>
                <a:cubicBezTo>
                  <a:pt x="330" y="20"/>
                  <a:pt x="335" y="3"/>
                  <a:pt x="322" y="3"/>
                </a:cubicBezTo>
                <a:cubicBezTo>
                  <a:pt x="318" y="3"/>
                  <a:pt x="315" y="2"/>
                  <a:pt x="313" y="0"/>
                </a:cubicBezTo>
                <a:cubicBezTo>
                  <a:pt x="302" y="21"/>
                  <a:pt x="285" y="14"/>
                  <a:pt x="285" y="14"/>
                </a:cubicBezTo>
                <a:cubicBezTo>
                  <a:pt x="259" y="8"/>
                  <a:pt x="242" y="14"/>
                  <a:pt x="230" y="23"/>
                </a:cubicBezTo>
                <a:cubicBezTo>
                  <a:pt x="230" y="23"/>
                  <a:pt x="229" y="24"/>
                  <a:pt x="228" y="24"/>
                </a:cubicBezTo>
                <a:cubicBezTo>
                  <a:pt x="213" y="38"/>
                  <a:pt x="208" y="57"/>
                  <a:pt x="208" y="58"/>
                </a:cubicBezTo>
                <a:cubicBezTo>
                  <a:pt x="207" y="65"/>
                  <a:pt x="206" y="72"/>
                  <a:pt x="206" y="77"/>
                </a:cubicBezTo>
                <a:cubicBezTo>
                  <a:pt x="208" y="95"/>
                  <a:pt x="213" y="113"/>
                  <a:pt x="214" y="121"/>
                </a:cubicBezTo>
                <a:cubicBezTo>
                  <a:pt x="215" y="128"/>
                  <a:pt x="219" y="158"/>
                  <a:pt x="225" y="158"/>
                </a:cubicBezTo>
                <a:cubicBezTo>
                  <a:pt x="231" y="158"/>
                  <a:pt x="233" y="159"/>
                  <a:pt x="233" y="159"/>
                </a:cubicBezTo>
                <a:cubicBezTo>
                  <a:pt x="233" y="159"/>
                  <a:pt x="240" y="182"/>
                  <a:pt x="240" y="200"/>
                </a:cubicBezTo>
                <a:cubicBezTo>
                  <a:pt x="240" y="208"/>
                  <a:pt x="240" y="212"/>
                  <a:pt x="240" y="215"/>
                </a:cubicBezTo>
                <a:cubicBezTo>
                  <a:pt x="240" y="215"/>
                  <a:pt x="240" y="215"/>
                  <a:pt x="240" y="215"/>
                </a:cubicBezTo>
                <a:cubicBezTo>
                  <a:pt x="240" y="215"/>
                  <a:pt x="240" y="215"/>
                  <a:pt x="240" y="215"/>
                </a:cubicBezTo>
                <a:cubicBezTo>
                  <a:pt x="240" y="215"/>
                  <a:pt x="240" y="215"/>
                  <a:pt x="240" y="215"/>
                </a:cubicBezTo>
                <a:cubicBezTo>
                  <a:pt x="240" y="215"/>
                  <a:pt x="224" y="238"/>
                  <a:pt x="206" y="246"/>
                </a:cubicBezTo>
                <a:cubicBezTo>
                  <a:pt x="188" y="255"/>
                  <a:pt x="162" y="268"/>
                  <a:pt x="147" y="272"/>
                </a:cubicBezTo>
                <a:cubicBezTo>
                  <a:pt x="136" y="275"/>
                  <a:pt x="124" y="279"/>
                  <a:pt x="115" y="285"/>
                </a:cubicBezTo>
                <a:cubicBezTo>
                  <a:pt x="103" y="293"/>
                  <a:pt x="93" y="305"/>
                  <a:pt x="89" y="326"/>
                </a:cubicBezTo>
                <a:cubicBezTo>
                  <a:pt x="82" y="365"/>
                  <a:pt x="42" y="495"/>
                  <a:pt x="22" y="531"/>
                </a:cubicBezTo>
                <a:cubicBezTo>
                  <a:pt x="3" y="567"/>
                  <a:pt x="0" y="616"/>
                  <a:pt x="20" y="646"/>
                </a:cubicBezTo>
                <a:cubicBezTo>
                  <a:pt x="39" y="676"/>
                  <a:pt x="86" y="750"/>
                  <a:pt x="93" y="760"/>
                </a:cubicBezTo>
                <a:cubicBezTo>
                  <a:pt x="100" y="770"/>
                  <a:pt x="102" y="778"/>
                  <a:pt x="113" y="777"/>
                </a:cubicBezTo>
                <a:cubicBezTo>
                  <a:pt x="113" y="777"/>
                  <a:pt x="114" y="776"/>
                  <a:pt x="115" y="776"/>
                </a:cubicBezTo>
                <a:cubicBezTo>
                  <a:pt x="124" y="776"/>
                  <a:pt x="130" y="777"/>
                  <a:pt x="130" y="777"/>
                </a:cubicBezTo>
                <a:cubicBezTo>
                  <a:pt x="130" y="777"/>
                  <a:pt x="135" y="796"/>
                  <a:pt x="143" y="802"/>
                </a:cubicBezTo>
                <a:cubicBezTo>
                  <a:pt x="151" y="808"/>
                  <a:pt x="161" y="828"/>
                  <a:pt x="163" y="821"/>
                </a:cubicBezTo>
                <a:cubicBezTo>
                  <a:pt x="166" y="814"/>
                  <a:pt x="173" y="872"/>
                  <a:pt x="180" y="903"/>
                </a:cubicBezTo>
                <a:cubicBezTo>
                  <a:pt x="187" y="934"/>
                  <a:pt x="220" y="1152"/>
                  <a:pt x="220" y="1183"/>
                </a:cubicBezTo>
                <a:cubicBezTo>
                  <a:pt x="220" y="1214"/>
                  <a:pt x="232" y="1246"/>
                  <a:pt x="231" y="1268"/>
                </a:cubicBezTo>
                <a:cubicBezTo>
                  <a:pt x="230" y="1291"/>
                  <a:pt x="235" y="1349"/>
                  <a:pt x="236" y="1381"/>
                </a:cubicBezTo>
                <a:cubicBezTo>
                  <a:pt x="237" y="1413"/>
                  <a:pt x="267" y="1447"/>
                  <a:pt x="267" y="1470"/>
                </a:cubicBezTo>
                <a:cubicBezTo>
                  <a:pt x="267" y="1494"/>
                  <a:pt x="260" y="1505"/>
                  <a:pt x="263" y="1519"/>
                </a:cubicBezTo>
                <a:cubicBezTo>
                  <a:pt x="267" y="1532"/>
                  <a:pt x="266" y="1542"/>
                  <a:pt x="251" y="1558"/>
                </a:cubicBezTo>
                <a:cubicBezTo>
                  <a:pt x="236" y="1574"/>
                  <a:pt x="230" y="1589"/>
                  <a:pt x="231" y="1602"/>
                </a:cubicBezTo>
                <a:cubicBezTo>
                  <a:pt x="232" y="1614"/>
                  <a:pt x="236" y="1619"/>
                  <a:pt x="266" y="1620"/>
                </a:cubicBezTo>
                <a:cubicBezTo>
                  <a:pt x="296" y="1621"/>
                  <a:pt x="324" y="1613"/>
                  <a:pt x="324" y="1605"/>
                </a:cubicBezTo>
                <a:cubicBezTo>
                  <a:pt x="324" y="1598"/>
                  <a:pt x="334" y="1595"/>
                  <a:pt x="343" y="1595"/>
                </a:cubicBezTo>
                <a:cubicBezTo>
                  <a:pt x="351" y="1595"/>
                  <a:pt x="350" y="1587"/>
                  <a:pt x="346" y="1569"/>
                </a:cubicBezTo>
                <a:cubicBezTo>
                  <a:pt x="343" y="1552"/>
                  <a:pt x="330" y="1528"/>
                  <a:pt x="338" y="1531"/>
                </a:cubicBezTo>
                <a:cubicBezTo>
                  <a:pt x="345" y="1533"/>
                  <a:pt x="351" y="1528"/>
                  <a:pt x="351" y="1504"/>
                </a:cubicBezTo>
                <a:cubicBezTo>
                  <a:pt x="351" y="1479"/>
                  <a:pt x="355" y="1471"/>
                  <a:pt x="344" y="1457"/>
                </a:cubicBezTo>
                <a:cubicBezTo>
                  <a:pt x="333" y="1442"/>
                  <a:pt x="335" y="1415"/>
                  <a:pt x="338" y="1392"/>
                </a:cubicBezTo>
                <a:cubicBezTo>
                  <a:pt x="340" y="1370"/>
                  <a:pt x="348" y="1354"/>
                  <a:pt x="342" y="1327"/>
                </a:cubicBezTo>
                <a:cubicBezTo>
                  <a:pt x="335" y="1299"/>
                  <a:pt x="334" y="1266"/>
                  <a:pt x="338" y="1252"/>
                </a:cubicBezTo>
                <a:cubicBezTo>
                  <a:pt x="342" y="1239"/>
                  <a:pt x="339" y="1222"/>
                  <a:pt x="329" y="1211"/>
                </a:cubicBezTo>
                <a:cubicBezTo>
                  <a:pt x="319" y="1200"/>
                  <a:pt x="334" y="1180"/>
                  <a:pt x="334" y="1168"/>
                </a:cubicBezTo>
                <a:cubicBezTo>
                  <a:pt x="334" y="1156"/>
                  <a:pt x="330" y="1104"/>
                  <a:pt x="337" y="1052"/>
                </a:cubicBezTo>
                <a:cubicBezTo>
                  <a:pt x="343" y="999"/>
                  <a:pt x="344" y="960"/>
                  <a:pt x="345" y="946"/>
                </a:cubicBezTo>
                <a:cubicBezTo>
                  <a:pt x="346" y="933"/>
                  <a:pt x="354" y="939"/>
                  <a:pt x="372" y="991"/>
                </a:cubicBezTo>
                <a:cubicBezTo>
                  <a:pt x="391" y="1043"/>
                  <a:pt x="438" y="1205"/>
                  <a:pt x="447" y="1241"/>
                </a:cubicBezTo>
                <a:cubicBezTo>
                  <a:pt x="454" y="1272"/>
                  <a:pt x="480" y="1385"/>
                  <a:pt x="491" y="1436"/>
                </a:cubicBezTo>
                <a:cubicBezTo>
                  <a:pt x="493" y="1444"/>
                  <a:pt x="494" y="1451"/>
                  <a:pt x="495" y="1455"/>
                </a:cubicBezTo>
                <a:cubicBezTo>
                  <a:pt x="501" y="1486"/>
                  <a:pt x="509" y="1548"/>
                  <a:pt x="517" y="1548"/>
                </a:cubicBezTo>
                <a:cubicBezTo>
                  <a:pt x="526" y="1548"/>
                  <a:pt x="524" y="1554"/>
                  <a:pt x="525" y="1572"/>
                </a:cubicBezTo>
                <a:cubicBezTo>
                  <a:pt x="526" y="1589"/>
                  <a:pt x="543" y="1592"/>
                  <a:pt x="553" y="1595"/>
                </a:cubicBezTo>
                <a:cubicBezTo>
                  <a:pt x="563" y="1599"/>
                  <a:pt x="566" y="1589"/>
                  <a:pt x="566" y="1589"/>
                </a:cubicBezTo>
                <a:cubicBezTo>
                  <a:pt x="566" y="1589"/>
                  <a:pt x="582" y="1623"/>
                  <a:pt x="610" y="1626"/>
                </a:cubicBezTo>
                <a:cubicBezTo>
                  <a:pt x="639" y="1630"/>
                  <a:pt x="693" y="1641"/>
                  <a:pt x="693" y="1628"/>
                </a:cubicBezTo>
                <a:cubicBezTo>
                  <a:pt x="693" y="1614"/>
                  <a:pt x="687" y="1602"/>
                  <a:pt x="669" y="1590"/>
                </a:cubicBezTo>
                <a:close/>
                <a:moveTo>
                  <a:pt x="128" y="644"/>
                </a:moveTo>
                <a:cubicBezTo>
                  <a:pt x="128" y="632"/>
                  <a:pt x="122" y="619"/>
                  <a:pt x="115" y="608"/>
                </a:cubicBezTo>
                <a:cubicBezTo>
                  <a:pt x="105" y="594"/>
                  <a:pt x="95" y="582"/>
                  <a:pt x="99" y="575"/>
                </a:cubicBezTo>
                <a:cubicBezTo>
                  <a:pt x="105" y="563"/>
                  <a:pt x="110" y="563"/>
                  <a:pt x="115" y="554"/>
                </a:cubicBezTo>
                <a:cubicBezTo>
                  <a:pt x="118" y="549"/>
                  <a:pt x="121" y="541"/>
                  <a:pt x="125" y="524"/>
                </a:cubicBezTo>
                <a:cubicBezTo>
                  <a:pt x="124" y="559"/>
                  <a:pt x="136" y="611"/>
                  <a:pt x="128" y="644"/>
                </a:cubicBezTo>
                <a:close/>
                <a:moveTo>
                  <a:pt x="411" y="689"/>
                </a:moveTo>
                <a:cubicBezTo>
                  <a:pt x="407" y="690"/>
                  <a:pt x="402" y="690"/>
                  <a:pt x="395" y="690"/>
                </a:cubicBezTo>
                <a:cubicBezTo>
                  <a:pt x="395" y="685"/>
                  <a:pt x="395" y="680"/>
                  <a:pt x="393" y="674"/>
                </a:cubicBezTo>
                <a:cubicBezTo>
                  <a:pt x="389" y="655"/>
                  <a:pt x="367" y="523"/>
                  <a:pt x="351" y="448"/>
                </a:cubicBezTo>
                <a:cubicBezTo>
                  <a:pt x="335" y="373"/>
                  <a:pt x="318" y="317"/>
                  <a:pt x="314" y="307"/>
                </a:cubicBezTo>
                <a:cubicBezTo>
                  <a:pt x="310" y="297"/>
                  <a:pt x="323" y="293"/>
                  <a:pt x="323" y="293"/>
                </a:cubicBezTo>
                <a:cubicBezTo>
                  <a:pt x="299" y="269"/>
                  <a:pt x="299" y="269"/>
                  <a:pt x="299" y="269"/>
                </a:cubicBezTo>
                <a:cubicBezTo>
                  <a:pt x="288" y="274"/>
                  <a:pt x="280" y="291"/>
                  <a:pt x="280" y="291"/>
                </a:cubicBezTo>
                <a:cubicBezTo>
                  <a:pt x="280" y="291"/>
                  <a:pt x="292" y="299"/>
                  <a:pt x="294" y="307"/>
                </a:cubicBezTo>
                <a:cubicBezTo>
                  <a:pt x="296" y="315"/>
                  <a:pt x="292" y="325"/>
                  <a:pt x="286" y="343"/>
                </a:cubicBezTo>
                <a:cubicBezTo>
                  <a:pt x="281" y="362"/>
                  <a:pt x="288" y="443"/>
                  <a:pt x="295" y="485"/>
                </a:cubicBezTo>
                <a:cubicBezTo>
                  <a:pt x="302" y="527"/>
                  <a:pt x="315" y="621"/>
                  <a:pt x="323" y="669"/>
                </a:cubicBezTo>
                <a:cubicBezTo>
                  <a:pt x="324" y="677"/>
                  <a:pt x="326" y="683"/>
                  <a:pt x="327" y="689"/>
                </a:cubicBezTo>
                <a:cubicBezTo>
                  <a:pt x="308" y="688"/>
                  <a:pt x="289" y="687"/>
                  <a:pt x="274" y="687"/>
                </a:cubicBezTo>
                <a:cubicBezTo>
                  <a:pt x="232" y="687"/>
                  <a:pt x="191" y="692"/>
                  <a:pt x="191" y="692"/>
                </a:cubicBezTo>
                <a:cubicBezTo>
                  <a:pt x="191" y="692"/>
                  <a:pt x="199" y="672"/>
                  <a:pt x="212" y="643"/>
                </a:cubicBezTo>
                <a:cubicBezTo>
                  <a:pt x="224" y="615"/>
                  <a:pt x="226" y="589"/>
                  <a:pt x="235" y="542"/>
                </a:cubicBezTo>
                <a:cubicBezTo>
                  <a:pt x="245" y="495"/>
                  <a:pt x="237" y="463"/>
                  <a:pt x="237" y="406"/>
                </a:cubicBezTo>
                <a:cubicBezTo>
                  <a:pt x="237" y="361"/>
                  <a:pt x="234" y="300"/>
                  <a:pt x="231" y="263"/>
                </a:cubicBezTo>
                <a:cubicBezTo>
                  <a:pt x="231" y="257"/>
                  <a:pt x="231" y="235"/>
                  <a:pt x="248" y="225"/>
                </a:cubicBezTo>
                <a:cubicBezTo>
                  <a:pt x="257" y="236"/>
                  <a:pt x="268" y="248"/>
                  <a:pt x="281" y="257"/>
                </a:cubicBezTo>
                <a:cubicBezTo>
                  <a:pt x="304" y="273"/>
                  <a:pt x="306" y="261"/>
                  <a:pt x="320" y="244"/>
                </a:cubicBezTo>
                <a:cubicBezTo>
                  <a:pt x="326" y="237"/>
                  <a:pt x="330" y="232"/>
                  <a:pt x="334" y="227"/>
                </a:cubicBezTo>
                <a:cubicBezTo>
                  <a:pt x="334" y="227"/>
                  <a:pt x="334" y="227"/>
                  <a:pt x="334" y="227"/>
                </a:cubicBezTo>
                <a:cubicBezTo>
                  <a:pt x="353" y="218"/>
                  <a:pt x="370" y="255"/>
                  <a:pt x="370" y="255"/>
                </a:cubicBezTo>
                <a:cubicBezTo>
                  <a:pt x="382" y="288"/>
                  <a:pt x="381" y="349"/>
                  <a:pt x="381" y="413"/>
                </a:cubicBezTo>
                <a:cubicBezTo>
                  <a:pt x="381" y="478"/>
                  <a:pt x="393" y="542"/>
                  <a:pt x="406" y="589"/>
                </a:cubicBezTo>
                <a:cubicBezTo>
                  <a:pt x="418" y="636"/>
                  <a:pt x="437" y="678"/>
                  <a:pt x="437" y="678"/>
                </a:cubicBezTo>
                <a:cubicBezTo>
                  <a:pt x="437" y="678"/>
                  <a:pt x="426" y="684"/>
                  <a:pt x="411" y="689"/>
                </a:cubicBezTo>
                <a:close/>
                <a:moveTo>
                  <a:pt x="491" y="631"/>
                </a:moveTo>
                <a:cubicBezTo>
                  <a:pt x="489" y="627"/>
                  <a:pt x="490" y="600"/>
                  <a:pt x="484" y="579"/>
                </a:cubicBezTo>
                <a:cubicBezTo>
                  <a:pt x="477" y="556"/>
                  <a:pt x="474" y="524"/>
                  <a:pt x="473" y="485"/>
                </a:cubicBezTo>
                <a:cubicBezTo>
                  <a:pt x="473" y="485"/>
                  <a:pt x="482" y="518"/>
                  <a:pt x="491" y="538"/>
                </a:cubicBezTo>
                <a:cubicBezTo>
                  <a:pt x="495" y="547"/>
                  <a:pt x="498" y="553"/>
                  <a:pt x="501" y="553"/>
                </a:cubicBezTo>
                <a:cubicBezTo>
                  <a:pt x="511" y="556"/>
                  <a:pt x="512" y="570"/>
                  <a:pt x="501" y="576"/>
                </a:cubicBezTo>
                <a:cubicBezTo>
                  <a:pt x="490" y="582"/>
                  <a:pt x="498" y="624"/>
                  <a:pt x="493" y="630"/>
                </a:cubicBezTo>
                <a:cubicBezTo>
                  <a:pt x="492" y="631"/>
                  <a:pt x="491" y="631"/>
                  <a:pt x="491" y="631"/>
                </a:cubicBezTo>
                <a:close/>
              </a:path>
            </a:pathLst>
          </a:custGeom>
          <a:solidFill>
            <a:sysClr val="windowText" lastClr="000000">
              <a:lumMod val="85000"/>
              <a:lumOff val="15000"/>
            </a:sysClr>
          </a:solidFill>
          <a:ln>
            <a:noFill/>
          </a:ln>
          <a:effectLst>
            <a:outerShdw blurRad="76200" dir="13500000" sy="23000" kx="1200000" algn="br" rotWithShape="0">
              <a:prstClr val="black">
                <a:alpha val="6000"/>
              </a:prstClr>
            </a:outerShdw>
          </a:effectLst>
        </p:spPr>
        <p:txBody>
          <a:bodyPr vert="horz" wrap="square" lIns="138239" tIns="69119" rIns="138239" bIns="6911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82104" fontAlgn="auto">
              <a:spcBef>
                <a:spcPts val="0"/>
              </a:spcBef>
              <a:spcAft>
                <a:spcPts val="0"/>
              </a:spcAft>
              <a:defRPr/>
            </a:pPr>
            <a:endParaRPr lang="id-ID" sz="2700" b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22" name="Freeform 4"/>
          <p:cNvSpPr>
            <a:spLocks noEditPoints="1"/>
          </p:cNvSpPr>
          <p:nvPr/>
        </p:nvSpPr>
        <p:spPr bwMode="auto">
          <a:xfrm>
            <a:off x="7507562" y="3206363"/>
            <a:ext cx="824528" cy="2645975"/>
          </a:xfrm>
          <a:custGeom>
            <a:avLst/>
            <a:gdLst>
              <a:gd name="T0" fmla="*/ 379 w 386"/>
              <a:gd name="T1" fmla="*/ 464 h 1210"/>
              <a:gd name="T2" fmla="*/ 364 w 386"/>
              <a:gd name="T3" fmla="*/ 267 h 1210"/>
              <a:gd name="T4" fmla="*/ 269 w 386"/>
              <a:gd name="T5" fmla="*/ 191 h 1210"/>
              <a:gd name="T6" fmla="*/ 251 w 386"/>
              <a:gd name="T7" fmla="*/ 145 h 1210"/>
              <a:gd name="T8" fmla="*/ 266 w 386"/>
              <a:gd name="T9" fmla="*/ 116 h 1210"/>
              <a:gd name="T10" fmla="*/ 263 w 386"/>
              <a:gd name="T11" fmla="*/ 82 h 1210"/>
              <a:gd name="T12" fmla="*/ 205 w 386"/>
              <a:gd name="T13" fmla="*/ 0 h 1210"/>
              <a:gd name="T14" fmla="*/ 155 w 386"/>
              <a:gd name="T15" fmla="*/ 90 h 1210"/>
              <a:gd name="T16" fmla="*/ 174 w 386"/>
              <a:gd name="T17" fmla="*/ 126 h 1210"/>
              <a:gd name="T18" fmla="*/ 176 w 386"/>
              <a:gd name="T19" fmla="*/ 167 h 1210"/>
              <a:gd name="T20" fmla="*/ 177 w 386"/>
              <a:gd name="T21" fmla="*/ 167 h 1210"/>
              <a:gd name="T22" fmla="*/ 156 w 386"/>
              <a:gd name="T23" fmla="*/ 186 h 1210"/>
              <a:gd name="T24" fmla="*/ 99 w 386"/>
              <a:gd name="T25" fmla="*/ 207 h 1210"/>
              <a:gd name="T26" fmla="*/ 57 w 386"/>
              <a:gd name="T27" fmla="*/ 370 h 1210"/>
              <a:gd name="T28" fmla="*/ 38 w 386"/>
              <a:gd name="T29" fmla="*/ 604 h 1210"/>
              <a:gd name="T30" fmla="*/ 68 w 386"/>
              <a:gd name="T31" fmla="*/ 598 h 1210"/>
              <a:gd name="T32" fmla="*/ 68 w 386"/>
              <a:gd name="T33" fmla="*/ 607 h 1210"/>
              <a:gd name="T34" fmla="*/ 41 w 386"/>
              <a:gd name="T35" fmla="*/ 619 h 1210"/>
              <a:gd name="T36" fmla="*/ 47 w 386"/>
              <a:gd name="T37" fmla="*/ 662 h 1210"/>
              <a:gd name="T38" fmla="*/ 3 w 386"/>
              <a:gd name="T39" fmla="*/ 849 h 1210"/>
              <a:gd name="T40" fmla="*/ 99 w 386"/>
              <a:gd name="T41" fmla="*/ 898 h 1210"/>
              <a:gd name="T42" fmla="*/ 118 w 386"/>
              <a:gd name="T43" fmla="*/ 899 h 1210"/>
              <a:gd name="T44" fmla="*/ 127 w 386"/>
              <a:gd name="T45" fmla="*/ 1051 h 1210"/>
              <a:gd name="T46" fmla="*/ 118 w 386"/>
              <a:gd name="T47" fmla="*/ 1153 h 1210"/>
              <a:gd name="T48" fmla="*/ 181 w 386"/>
              <a:gd name="T49" fmla="*/ 1159 h 1210"/>
              <a:gd name="T50" fmla="*/ 194 w 386"/>
              <a:gd name="T51" fmla="*/ 1084 h 1210"/>
              <a:gd name="T52" fmla="*/ 192 w 386"/>
              <a:gd name="T53" fmla="*/ 968 h 1210"/>
              <a:gd name="T54" fmla="*/ 222 w 386"/>
              <a:gd name="T55" fmla="*/ 712 h 1210"/>
              <a:gd name="T56" fmla="*/ 252 w 386"/>
              <a:gd name="T57" fmla="*/ 767 h 1210"/>
              <a:gd name="T58" fmla="*/ 285 w 386"/>
              <a:gd name="T59" fmla="*/ 1024 h 1210"/>
              <a:gd name="T60" fmla="*/ 277 w 386"/>
              <a:gd name="T61" fmla="*/ 1067 h 1210"/>
              <a:gd name="T62" fmla="*/ 298 w 386"/>
              <a:gd name="T63" fmla="*/ 1146 h 1210"/>
              <a:gd name="T64" fmla="*/ 355 w 386"/>
              <a:gd name="T65" fmla="*/ 1205 h 1210"/>
              <a:gd name="T66" fmla="*/ 347 w 386"/>
              <a:gd name="T67" fmla="*/ 1105 h 1210"/>
              <a:gd name="T68" fmla="*/ 351 w 386"/>
              <a:gd name="T69" fmla="*/ 1046 h 1210"/>
              <a:gd name="T70" fmla="*/ 356 w 386"/>
              <a:gd name="T71" fmla="*/ 829 h 1210"/>
              <a:gd name="T72" fmla="*/ 354 w 386"/>
              <a:gd name="T73" fmla="*/ 603 h 1210"/>
              <a:gd name="T74" fmla="*/ 367 w 386"/>
              <a:gd name="T75" fmla="*/ 565 h 1210"/>
              <a:gd name="T76" fmla="*/ 109 w 386"/>
              <a:gd name="T77" fmla="*/ 669 h 1210"/>
              <a:gd name="T78" fmla="*/ 91 w 386"/>
              <a:gd name="T79" fmla="*/ 666 h 1210"/>
              <a:gd name="T80" fmla="*/ 90 w 386"/>
              <a:gd name="T81" fmla="*/ 617 h 1210"/>
              <a:gd name="T82" fmla="*/ 101 w 386"/>
              <a:gd name="T83" fmla="*/ 628 h 1210"/>
              <a:gd name="T84" fmla="*/ 108 w 386"/>
              <a:gd name="T85" fmla="*/ 649 h 1210"/>
              <a:gd name="T86" fmla="*/ 223 w 386"/>
              <a:gd name="T87" fmla="*/ 505 h 1210"/>
              <a:gd name="T88" fmla="*/ 221 w 386"/>
              <a:gd name="T89" fmla="*/ 232 h 1210"/>
              <a:gd name="T90" fmla="*/ 215 w 386"/>
              <a:gd name="T91" fmla="*/ 208 h 1210"/>
              <a:gd name="T92" fmla="*/ 205 w 386"/>
              <a:gd name="T93" fmla="*/ 231 h 1210"/>
              <a:gd name="T94" fmla="*/ 199 w 386"/>
              <a:gd name="T95" fmla="*/ 505 h 1210"/>
              <a:gd name="T96" fmla="*/ 190 w 386"/>
              <a:gd name="T97" fmla="*/ 325 h 1210"/>
              <a:gd name="T98" fmla="*/ 173 w 386"/>
              <a:gd name="T99" fmla="*/ 188 h 1210"/>
              <a:gd name="T100" fmla="*/ 182 w 386"/>
              <a:gd name="T101" fmla="*/ 176 h 1210"/>
              <a:gd name="T102" fmla="*/ 248 w 386"/>
              <a:gd name="T103" fmla="*/ 179 h 1210"/>
              <a:gd name="T104" fmla="*/ 259 w 386"/>
              <a:gd name="T105" fmla="*/ 196 h 1210"/>
              <a:gd name="T106" fmla="*/ 258 w 386"/>
              <a:gd name="T107" fmla="*/ 201 h 1210"/>
              <a:gd name="T108" fmla="*/ 260 w 386"/>
              <a:gd name="T109" fmla="*/ 256 h 1210"/>
              <a:gd name="T110" fmla="*/ 301 w 386"/>
              <a:gd name="T111" fmla="*/ 488 h 1210"/>
              <a:gd name="T112" fmla="*/ 360 w 386"/>
              <a:gd name="T113" fmla="*/ 585 h 1210"/>
              <a:gd name="T114" fmla="*/ 328 w 386"/>
              <a:gd name="T115" fmla="*/ 554 h 1210"/>
              <a:gd name="T116" fmla="*/ 360 w 386"/>
              <a:gd name="T117" fmla="*/ 585 h 1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86" h="1210">
                <a:moveTo>
                  <a:pt x="379" y="512"/>
                </a:moveTo>
                <a:cubicBezTo>
                  <a:pt x="385" y="497"/>
                  <a:pt x="386" y="471"/>
                  <a:pt x="379" y="464"/>
                </a:cubicBezTo>
                <a:cubicBezTo>
                  <a:pt x="372" y="456"/>
                  <a:pt x="383" y="413"/>
                  <a:pt x="376" y="380"/>
                </a:cubicBezTo>
                <a:cubicBezTo>
                  <a:pt x="370" y="347"/>
                  <a:pt x="365" y="295"/>
                  <a:pt x="364" y="267"/>
                </a:cubicBezTo>
                <a:cubicBezTo>
                  <a:pt x="364" y="239"/>
                  <a:pt x="362" y="219"/>
                  <a:pt x="326" y="210"/>
                </a:cubicBezTo>
                <a:cubicBezTo>
                  <a:pt x="302" y="204"/>
                  <a:pt x="282" y="197"/>
                  <a:pt x="269" y="191"/>
                </a:cubicBezTo>
                <a:cubicBezTo>
                  <a:pt x="269" y="191"/>
                  <a:pt x="255" y="179"/>
                  <a:pt x="252" y="168"/>
                </a:cubicBezTo>
                <a:cubicBezTo>
                  <a:pt x="251" y="159"/>
                  <a:pt x="251" y="150"/>
                  <a:pt x="251" y="145"/>
                </a:cubicBezTo>
                <a:cubicBezTo>
                  <a:pt x="253" y="136"/>
                  <a:pt x="253" y="129"/>
                  <a:pt x="253" y="124"/>
                </a:cubicBezTo>
                <a:cubicBezTo>
                  <a:pt x="253" y="118"/>
                  <a:pt x="264" y="126"/>
                  <a:pt x="266" y="116"/>
                </a:cubicBezTo>
                <a:cubicBezTo>
                  <a:pt x="269" y="107"/>
                  <a:pt x="271" y="85"/>
                  <a:pt x="269" y="84"/>
                </a:cubicBezTo>
                <a:cubicBezTo>
                  <a:pt x="267" y="82"/>
                  <a:pt x="265" y="82"/>
                  <a:pt x="263" y="82"/>
                </a:cubicBezTo>
                <a:cubicBezTo>
                  <a:pt x="263" y="79"/>
                  <a:pt x="265" y="59"/>
                  <a:pt x="263" y="38"/>
                </a:cubicBezTo>
                <a:cubicBezTo>
                  <a:pt x="262" y="18"/>
                  <a:pt x="242" y="2"/>
                  <a:pt x="205" y="0"/>
                </a:cubicBezTo>
                <a:cubicBezTo>
                  <a:pt x="184" y="0"/>
                  <a:pt x="160" y="16"/>
                  <a:pt x="157" y="38"/>
                </a:cubicBezTo>
                <a:cubicBezTo>
                  <a:pt x="154" y="60"/>
                  <a:pt x="155" y="90"/>
                  <a:pt x="155" y="90"/>
                </a:cubicBezTo>
                <a:cubicBezTo>
                  <a:pt x="155" y="90"/>
                  <a:pt x="148" y="105"/>
                  <a:pt x="154" y="117"/>
                </a:cubicBezTo>
                <a:cubicBezTo>
                  <a:pt x="160" y="129"/>
                  <a:pt x="174" y="126"/>
                  <a:pt x="174" y="126"/>
                </a:cubicBezTo>
                <a:cubicBezTo>
                  <a:pt x="174" y="126"/>
                  <a:pt x="177" y="145"/>
                  <a:pt x="177" y="155"/>
                </a:cubicBezTo>
                <a:cubicBezTo>
                  <a:pt x="177" y="160"/>
                  <a:pt x="177" y="164"/>
                  <a:pt x="176" y="167"/>
                </a:cubicBezTo>
                <a:cubicBezTo>
                  <a:pt x="176" y="167"/>
                  <a:pt x="176" y="167"/>
                  <a:pt x="176" y="167"/>
                </a:cubicBezTo>
                <a:cubicBezTo>
                  <a:pt x="176" y="167"/>
                  <a:pt x="177" y="167"/>
                  <a:pt x="177" y="167"/>
                </a:cubicBezTo>
                <a:cubicBezTo>
                  <a:pt x="176" y="167"/>
                  <a:pt x="176" y="167"/>
                  <a:pt x="176" y="167"/>
                </a:cubicBezTo>
                <a:cubicBezTo>
                  <a:pt x="176" y="167"/>
                  <a:pt x="164" y="182"/>
                  <a:pt x="156" y="186"/>
                </a:cubicBezTo>
                <a:cubicBezTo>
                  <a:pt x="143" y="192"/>
                  <a:pt x="123" y="200"/>
                  <a:pt x="107" y="205"/>
                </a:cubicBezTo>
                <a:cubicBezTo>
                  <a:pt x="104" y="206"/>
                  <a:pt x="102" y="206"/>
                  <a:pt x="99" y="207"/>
                </a:cubicBezTo>
                <a:cubicBezTo>
                  <a:pt x="80" y="213"/>
                  <a:pt x="65" y="218"/>
                  <a:pt x="65" y="244"/>
                </a:cubicBezTo>
                <a:cubicBezTo>
                  <a:pt x="64" y="274"/>
                  <a:pt x="61" y="331"/>
                  <a:pt x="57" y="370"/>
                </a:cubicBezTo>
                <a:cubicBezTo>
                  <a:pt x="53" y="408"/>
                  <a:pt x="41" y="490"/>
                  <a:pt x="41" y="516"/>
                </a:cubicBezTo>
                <a:cubicBezTo>
                  <a:pt x="40" y="542"/>
                  <a:pt x="37" y="598"/>
                  <a:pt x="38" y="604"/>
                </a:cubicBezTo>
                <a:cubicBezTo>
                  <a:pt x="38" y="609"/>
                  <a:pt x="42" y="609"/>
                  <a:pt x="42" y="615"/>
                </a:cubicBezTo>
                <a:cubicBezTo>
                  <a:pt x="43" y="612"/>
                  <a:pt x="48" y="598"/>
                  <a:pt x="68" y="598"/>
                </a:cubicBezTo>
                <a:cubicBezTo>
                  <a:pt x="90" y="598"/>
                  <a:pt x="90" y="614"/>
                  <a:pt x="90" y="614"/>
                </a:cubicBezTo>
                <a:cubicBezTo>
                  <a:pt x="83" y="607"/>
                  <a:pt x="83" y="607"/>
                  <a:pt x="68" y="607"/>
                </a:cubicBezTo>
                <a:cubicBezTo>
                  <a:pt x="54" y="606"/>
                  <a:pt x="43" y="614"/>
                  <a:pt x="42" y="615"/>
                </a:cubicBezTo>
                <a:cubicBezTo>
                  <a:pt x="42" y="616"/>
                  <a:pt x="42" y="618"/>
                  <a:pt x="41" y="619"/>
                </a:cubicBezTo>
                <a:cubicBezTo>
                  <a:pt x="39" y="630"/>
                  <a:pt x="39" y="639"/>
                  <a:pt x="45" y="646"/>
                </a:cubicBezTo>
                <a:cubicBezTo>
                  <a:pt x="50" y="653"/>
                  <a:pt x="47" y="662"/>
                  <a:pt x="47" y="662"/>
                </a:cubicBezTo>
                <a:cubicBezTo>
                  <a:pt x="0" y="660"/>
                  <a:pt x="0" y="660"/>
                  <a:pt x="0" y="660"/>
                </a:cubicBezTo>
                <a:cubicBezTo>
                  <a:pt x="3" y="849"/>
                  <a:pt x="3" y="849"/>
                  <a:pt x="3" y="849"/>
                </a:cubicBezTo>
                <a:cubicBezTo>
                  <a:pt x="78" y="907"/>
                  <a:pt x="78" y="907"/>
                  <a:pt x="78" y="907"/>
                </a:cubicBezTo>
                <a:cubicBezTo>
                  <a:pt x="78" y="907"/>
                  <a:pt x="89" y="899"/>
                  <a:pt x="99" y="898"/>
                </a:cubicBezTo>
                <a:cubicBezTo>
                  <a:pt x="100" y="898"/>
                  <a:pt x="101" y="898"/>
                  <a:pt x="101" y="898"/>
                </a:cubicBezTo>
                <a:cubicBezTo>
                  <a:pt x="112" y="898"/>
                  <a:pt x="118" y="899"/>
                  <a:pt x="118" y="899"/>
                </a:cubicBezTo>
                <a:cubicBezTo>
                  <a:pt x="118" y="899"/>
                  <a:pt x="115" y="955"/>
                  <a:pt x="115" y="977"/>
                </a:cubicBezTo>
                <a:cubicBezTo>
                  <a:pt x="115" y="1000"/>
                  <a:pt x="117" y="1035"/>
                  <a:pt x="127" y="1051"/>
                </a:cubicBezTo>
                <a:cubicBezTo>
                  <a:pt x="136" y="1067"/>
                  <a:pt x="138" y="1073"/>
                  <a:pt x="138" y="1087"/>
                </a:cubicBezTo>
                <a:cubicBezTo>
                  <a:pt x="138" y="1101"/>
                  <a:pt x="117" y="1140"/>
                  <a:pt x="118" y="1153"/>
                </a:cubicBezTo>
                <a:cubicBezTo>
                  <a:pt x="118" y="1166"/>
                  <a:pt x="121" y="1186"/>
                  <a:pt x="143" y="1186"/>
                </a:cubicBezTo>
                <a:cubicBezTo>
                  <a:pt x="165" y="1185"/>
                  <a:pt x="181" y="1176"/>
                  <a:pt x="181" y="1159"/>
                </a:cubicBezTo>
                <a:cubicBezTo>
                  <a:pt x="181" y="1141"/>
                  <a:pt x="178" y="1130"/>
                  <a:pt x="185" y="1124"/>
                </a:cubicBezTo>
                <a:cubicBezTo>
                  <a:pt x="193" y="1117"/>
                  <a:pt x="181" y="1101"/>
                  <a:pt x="194" y="1084"/>
                </a:cubicBezTo>
                <a:cubicBezTo>
                  <a:pt x="206" y="1067"/>
                  <a:pt x="193" y="1066"/>
                  <a:pt x="196" y="1050"/>
                </a:cubicBezTo>
                <a:cubicBezTo>
                  <a:pt x="199" y="1034"/>
                  <a:pt x="193" y="987"/>
                  <a:pt x="192" y="968"/>
                </a:cubicBezTo>
                <a:cubicBezTo>
                  <a:pt x="191" y="949"/>
                  <a:pt x="194" y="926"/>
                  <a:pt x="204" y="846"/>
                </a:cubicBezTo>
                <a:cubicBezTo>
                  <a:pt x="213" y="765"/>
                  <a:pt x="219" y="729"/>
                  <a:pt x="222" y="712"/>
                </a:cubicBezTo>
                <a:cubicBezTo>
                  <a:pt x="225" y="694"/>
                  <a:pt x="229" y="672"/>
                  <a:pt x="229" y="672"/>
                </a:cubicBezTo>
                <a:cubicBezTo>
                  <a:pt x="229" y="672"/>
                  <a:pt x="242" y="748"/>
                  <a:pt x="252" y="767"/>
                </a:cubicBezTo>
                <a:cubicBezTo>
                  <a:pt x="262" y="785"/>
                  <a:pt x="274" y="879"/>
                  <a:pt x="277" y="907"/>
                </a:cubicBezTo>
                <a:cubicBezTo>
                  <a:pt x="280" y="934"/>
                  <a:pt x="278" y="1015"/>
                  <a:pt x="285" y="1024"/>
                </a:cubicBezTo>
                <a:cubicBezTo>
                  <a:pt x="291" y="1032"/>
                  <a:pt x="294" y="1044"/>
                  <a:pt x="294" y="1044"/>
                </a:cubicBezTo>
                <a:cubicBezTo>
                  <a:pt x="294" y="1044"/>
                  <a:pt x="277" y="1054"/>
                  <a:pt x="277" y="1067"/>
                </a:cubicBezTo>
                <a:cubicBezTo>
                  <a:pt x="277" y="1081"/>
                  <a:pt x="290" y="1092"/>
                  <a:pt x="289" y="1110"/>
                </a:cubicBezTo>
                <a:cubicBezTo>
                  <a:pt x="289" y="1128"/>
                  <a:pt x="291" y="1143"/>
                  <a:pt x="298" y="1146"/>
                </a:cubicBezTo>
                <a:cubicBezTo>
                  <a:pt x="305" y="1150"/>
                  <a:pt x="304" y="1180"/>
                  <a:pt x="313" y="1191"/>
                </a:cubicBezTo>
                <a:cubicBezTo>
                  <a:pt x="322" y="1201"/>
                  <a:pt x="337" y="1210"/>
                  <a:pt x="355" y="1205"/>
                </a:cubicBezTo>
                <a:cubicBezTo>
                  <a:pt x="373" y="1199"/>
                  <a:pt x="373" y="1175"/>
                  <a:pt x="364" y="1152"/>
                </a:cubicBezTo>
                <a:cubicBezTo>
                  <a:pt x="355" y="1129"/>
                  <a:pt x="344" y="1114"/>
                  <a:pt x="347" y="1105"/>
                </a:cubicBezTo>
                <a:cubicBezTo>
                  <a:pt x="351" y="1096"/>
                  <a:pt x="354" y="1082"/>
                  <a:pt x="345" y="1073"/>
                </a:cubicBezTo>
                <a:cubicBezTo>
                  <a:pt x="336" y="1064"/>
                  <a:pt x="345" y="1054"/>
                  <a:pt x="351" y="1046"/>
                </a:cubicBezTo>
                <a:cubicBezTo>
                  <a:pt x="357" y="1038"/>
                  <a:pt x="356" y="1002"/>
                  <a:pt x="356" y="982"/>
                </a:cubicBezTo>
                <a:cubicBezTo>
                  <a:pt x="357" y="962"/>
                  <a:pt x="354" y="864"/>
                  <a:pt x="356" y="829"/>
                </a:cubicBezTo>
                <a:cubicBezTo>
                  <a:pt x="357" y="793"/>
                  <a:pt x="360" y="685"/>
                  <a:pt x="355" y="655"/>
                </a:cubicBezTo>
                <a:cubicBezTo>
                  <a:pt x="350" y="625"/>
                  <a:pt x="354" y="603"/>
                  <a:pt x="354" y="603"/>
                </a:cubicBezTo>
                <a:cubicBezTo>
                  <a:pt x="354" y="603"/>
                  <a:pt x="366" y="609"/>
                  <a:pt x="366" y="597"/>
                </a:cubicBezTo>
                <a:cubicBezTo>
                  <a:pt x="366" y="586"/>
                  <a:pt x="362" y="584"/>
                  <a:pt x="367" y="565"/>
                </a:cubicBezTo>
                <a:cubicBezTo>
                  <a:pt x="372" y="545"/>
                  <a:pt x="373" y="527"/>
                  <a:pt x="379" y="512"/>
                </a:cubicBezTo>
                <a:close/>
                <a:moveTo>
                  <a:pt x="109" y="669"/>
                </a:moveTo>
                <a:cubicBezTo>
                  <a:pt x="99" y="668"/>
                  <a:pt x="99" y="668"/>
                  <a:pt x="99" y="668"/>
                </a:cubicBezTo>
                <a:cubicBezTo>
                  <a:pt x="91" y="666"/>
                  <a:pt x="91" y="666"/>
                  <a:pt x="91" y="666"/>
                </a:cubicBezTo>
                <a:cubicBezTo>
                  <a:pt x="91" y="666"/>
                  <a:pt x="93" y="653"/>
                  <a:pt x="90" y="644"/>
                </a:cubicBezTo>
                <a:cubicBezTo>
                  <a:pt x="87" y="635"/>
                  <a:pt x="88" y="627"/>
                  <a:pt x="90" y="617"/>
                </a:cubicBezTo>
                <a:cubicBezTo>
                  <a:pt x="90" y="617"/>
                  <a:pt x="93" y="627"/>
                  <a:pt x="99" y="628"/>
                </a:cubicBezTo>
                <a:cubicBezTo>
                  <a:pt x="100" y="628"/>
                  <a:pt x="100" y="628"/>
                  <a:pt x="101" y="628"/>
                </a:cubicBezTo>
                <a:cubicBezTo>
                  <a:pt x="108" y="628"/>
                  <a:pt x="111" y="629"/>
                  <a:pt x="111" y="629"/>
                </a:cubicBezTo>
                <a:cubicBezTo>
                  <a:pt x="111" y="629"/>
                  <a:pt x="108" y="640"/>
                  <a:pt x="108" y="649"/>
                </a:cubicBezTo>
                <a:cubicBezTo>
                  <a:pt x="108" y="659"/>
                  <a:pt x="109" y="669"/>
                  <a:pt x="109" y="669"/>
                </a:cubicBezTo>
                <a:close/>
                <a:moveTo>
                  <a:pt x="223" y="505"/>
                </a:moveTo>
                <a:cubicBezTo>
                  <a:pt x="225" y="464"/>
                  <a:pt x="224" y="347"/>
                  <a:pt x="223" y="322"/>
                </a:cubicBezTo>
                <a:cubicBezTo>
                  <a:pt x="223" y="296"/>
                  <a:pt x="218" y="239"/>
                  <a:pt x="221" y="232"/>
                </a:cubicBezTo>
                <a:cubicBezTo>
                  <a:pt x="224" y="224"/>
                  <a:pt x="232" y="218"/>
                  <a:pt x="241" y="223"/>
                </a:cubicBezTo>
                <a:cubicBezTo>
                  <a:pt x="241" y="223"/>
                  <a:pt x="231" y="208"/>
                  <a:pt x="215" y="208"/>
                </a:cubicBezTo>
                <a:cubicBezTo>
                  <a:pt x="199" y="208"/>
                  <a:pt x="188" y="223"/>
                  <a:pt x="188" y="223"/>
                </a:cubicBezTo>
                <a:cubicBezTo>
                  <a:pt x="188" y="223"/>
                  <a:pt x="206" y="219"/>
                  <a:pt x="205" y="231"/>
                </a:cubicBezTo>
                <a:cubicBezTo>
                  <a:pt x="205" y="243"/>
                  <a:pt x="199" y="305"/>
                  <a:pt x="199" y="346"/>
                </a:cubicBezTo>
                <a:cubicBezTo>
                  <a:pt x="199" y="383"/>
                  <a:pt x="196" y="472"/>
                  <a:pt x="199" y="505"/>
                </a:cubicBezTo>
                <a:cubicBezTo>
                  <a:pt x="187" y="504"/>
                  <a:pt x="183" y="503"/>
                  <a:pt x="183" y="503"/>
                </a:cubicBezTo>
                <a:cubicBezTo>
                  <a:pt x="183" y="503"/>
                  <a:pt x="194" y="386"/>
                  <a:pt x="190" y="325"/>
                </a:cubicBezTo>
                <a:cubicBezTo>
                  <a:pt x="186" y="279"/>
                  <a:pt x="178" y="220"/>
                  <a:pt x="173" y="188"/>
                </a:cubicBezTo>
                <a:cubicBezTo>
                  <a:pt x="173" y="188"/>
                  <a:pt x="173" y="188"/>
                  <a:pt x="173" y="188"/>
                </a:cubicBezTo>
                <a:cubicBezTo>
                  <a:pt x="173" y="188"/>
                  <a:pt x="178" y="170"/>
                  <a:pt x="182" y="176"/>
                </a:cubicBezTo>
                <a:cubicBezTo>
                  <a:pt x="182" y="176"/>
                  <a:pt x="182" y="176"/>
                  <a:pt x="182" y="176"/>
                </a:cubicBezTo>
                <a:cubicBezTo>
                  <a:pt x="190" y="189"/>
                  <a:pt x="203" y="204"/>
                  <a:pt x="212" y="204"/>
                </a:cubicBezTo>
                <a:cubicBezTo>
                  <a:pt x="222" y="204"/>
                  <a:pt x="238" y="193"/>
                  <a:pt x="248" y="179"/>
                </a:cubicBezTo>
                <a:cubicBezTo>
                  <a:pt x="248" y="179"/>
                  <a:pt x="248" y="179"/>
                  <a:pt x="248" y="179"/>
                </a:cubicBezTo>
                <a:cubicBezTo>
                  <a:pt x="248" y="179"/>
                  <a:pt x="258" y="182"/>
                  <a:pt x="259" y="196"/>
                </a:cubicBezTo>
                <a:cubicBezTo>
                  <a:pt x="259" y="197"/>
                  <a:pt x="258" y="199"/>
                  <a:pt x="258" y="201"/>
                </a:cubicBezTo>
                <a:cubicBezTo>
                  <a:pt x="258" y="201"/>
                  <a:pt x="258" y="201"/>
                  <a:pt x="258" y="201"/>
                </a:cubicBezTo>
                <a:cubicBezTo>
                  <a:pt x="258" y="201"/>
                  <a:pt x="258" y="201"/>
                  <a:pt x="258" y="201"/>
                </a:cubicBezTo>
                <a:cubicBezTo>
                  <a:pt x="258" y="213"/>
                  <a:pt x="258" y="230"/>
                  <a:pt x="260" y="256"/>
                </a:cubicBezTo>
                <a:cubicBezTo>
                  <a:pt x="263" y="335"/>
                  <a:pt x="277" y="429"/>
                  <a:pt x="284" y="450"/>
                </a:cubicBezTo>
                <a:cubicBezTo>
                  <a:pt x="292" y="472"/>
                  <a:pt x="301" y="488"/>
                  <a:pt x="301" y="488"/>
                </a:cubicBezTo>
                <a:cubicBezTo>
                  <a:pt x="301" y="488"/>
                  <a:pt x="251" y="504"/>
                  <a:pt x="223" y="505"/>
                </a:cubicBezTo>
                <a:close/>
                <a:moveTo>
                  <a:pt x="360" y="585"/>
                </a:moveTo>
                <a:cubicBezTo>
                  <a:pt x="358" y="573"/>
                  <a:pt x="361" y="568"/>
                  <a:pt x="352" y="561"/>
                </a:cubicBezTo>
                <a:cubicBezTo>
                  <a:pt x="343" y="554"/>
                  <a:pt x="328" y="554"/>
                  <a:pt x="328" y="554"/>
                </a:cubicBezTo>
                <a:cubicBezTo>
                  <a:pt x="328" y="554"/>
                  <a:pt x="350" y="545"/>
                  <a:pt x="360" y="557"/>
                </a:cubicBezTo>
                <a:cubicBezTo>
                  <a:pt x="369" y="570"/>
                  <a:pt x="360" y="585"/>
                  <a:pt x="360" y="585"/>
                </a:cubicBezTo>
                <a:close/>
              </a:path>
            </a:pathLst>
          </a:custGeom>
          <a:solidFill>
            <a:sysClr val="windowText" lastClr="000000">
              <a:lumMod val="75000"/>
              <a:lumOff val="25000"/>
            </a:sysClr>
          </a:solidFill>
          <a:ln>
            <a:noFill/>
          </a:ln>
          <a:effectLst>
            <a:outerShdw blurRad="76200" dir="13500000" sy="23000" kx="1200000" algn="br" rotWithShape="0">
              <a:prstClr val="black">
                <a:alpha val="6000"/>
              </a:prstClr>
            </a:outerShdw>
          </a:effectLst>
        </p:spPr>
        <p:txBody>
          <a:bodyPr vert="horz" wrap="square" lIns="138239" tIns="69119" rIns="138239" bIns="6911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82104" fontAlgn="auto">
              <a:spcBef>
                <a:spcPts val="0"/>
              </a:spcBef>
              <a:spcAft>
                <a:spcPts val="0"/>
              </a:spcAft>
              <a:defRPr/>
            </a:pPr>
            <a:endParaRPr lang="id-ID" sz="2700" b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23" name="Freeform 6"/>
          <p:cNvSpPr>
            <a:spLocks noEditPoints="1"/>
          </p:cNvSpPr>
          <p:nvPr/>
        </p:nvSpPr>
        <p:spPr bwMode="auto">
          <a:xfrm>
            <a:off x="9751859" y="3133403"/>
            <a:ext cx="700567" cy="2681212"/>
          </a:xfrm>
          <a:custGeom>
            <a:avLst/>
            <a:gdLst>
              <a:gd name="T0" fmla="*/ 221 w 224"/>
              <a:gd name="T1" fmla="*/ 237 h 906"/>
              <a:gd name="T2" fmla="*/ 178 w 224"/>
              <a:gd name="T3" fmla="*/ 151 h 906"/>
              <a:gd name="T4" fmla="*/ 161 w 224"/>
              <a:gd name="T5" fmla="*/ 98 h 906"/>
              <a:gd name="T6" fmla="*/ 148 w 224"/>
              <a:gd name="T7" fmla="*/ 36 h 906"/>
              <a:gd name="T8" fmla="*/ 107 w 224"/>
              <a:gd name="T9" fmla="*/ 0 h 906"/>
              <a:gd name="T10" fmla="*/ 63 w 224"/>
              <a:gd name="T11" fmla="*/ 101 h 906"/>
              <a:gd name="T12" fmla="*/ 48 w 224"/>
              <a:gd name="T13" fmla="*/ 145 h 906"/>
              <a:gd name="T14" fmla="*/ 7 w 224"/>
              <a:gd name="T15" fmla="*/ 204 h 906"/>
              <a:gd name="T16" fmla="*/ 2 w 224"/>
              <a:gd name="T17" fmla="*/ 302 h 906"/>
              <a:gd name="T18" fmla="*/ 28 w 224"/>
              <a:gd name="T19" fmla="*/ 360 h 906"/>
              <a:gd name="T20" fmla="*/ 31 w 224"/>
              <a:gd name="T21" fmla="*/ 411 h 906"/>
              <a:gd name="T22" fmla="*/ 35 w 224"/>
              <a:gd name="T23" fmla="*/ 565 h 906"/>
              <a:gd name="T24" fmla="*/ 54 w 224"/>
              <a:gd name="T25" fmla="*/ 607 h 906"/>
              <a:gd name="T26" fmla="*/ 81 w 224"/>
              <a:gd name="T27" fmla="*/ 790 h 906"/>
              <a:gd name="T28" fmla="*/ 89 w 224"/>
              <a:gd name="T29" fmla="*/ 869 h 906"/>
              <a:gd name="T30" fmla="*/ 112 w 224"/>
              <a:gd name="T31" fmla="*/ 906 h 906"/>
              <a:gd name="T32" fmla="*/ 122 w 224"/>
              <a:gd name="T33" fmla="*/ 847 h 906"/>
              <a:gd name="T34" fmla="*/ 157 w 224"/>
              <a:gd name="T35" fmla="*/ 853 h 906"/>
              <a:gd name="T36" fmla="*/ 124 w 224"/>
              <a:gd name="T37" fmla="*/ 764 h 906"/>
              <a:gd name="T38" fmla="*/ 156 w 224"/>
              <a:gd name="T39" fmla="*/ 611 h 906"/>
              <a:gd name="T40" fmla="*/ 166 w 224"/>
              <a:gd name="T41" fmla="*/ 582 h 906"/>
              <a:gd name="T42" fmla="*/ 190 w 224"/>
              <a:gd name="T43" fmla="*/ 474 h 906"/>
              <a:gd name="T44" fmla="*/ 206 w 224"/>
              <a:gd name="T45" fmla="*/ 414 h 906"/>
              <a:gd name="T46" fmla="*/ 192 w 224"/>
              <a:gd name="T47" fmla="*/ 313 h 906"/>
              <a:gd name="T48" fmla="*/ 73 w 224"/>
              <a:gd name="T49" fmla="*/ 279 h 906"/>
              <a:gd name="T50" fmla="*/ 63 w 224"/>
              <a:gd name="T51" fmla="*/ 289 h 906"/>
              <a:gd name="T52" fmla="*/ 73 w 224"/>
              <a:gd name="T53" fmla="*/ 269 h 906"/>
              <a:gd name="T54" fmla="*/ 110 w 224"/>
              <a:gd name="T55" fmla="*/ 621 h 906"/>
              <a:gd name="T56" fmla="*/ 107 w 224"/>
              <a:gd name="T57" fmla="*/ 646 h 906"/>
              <a:gd name="T58" fmla="*/ 104 w 224"/>
              <a:gd name="T59" fmla="*/ 612 h 906"/>
              <a:gd name="T60" fmla="*/ 110 w 224"/>
              <a:gd name="T61" fmla="*/ 580 h 906"/>
              <a:gd name="T62" fmla="*/ 116 w 224"/>
              <a:gd name="T63" fmla="*/ 225 h 906"/>
              <a:gd name="T64" fmla="*/ 91 w 224"/>
              <a:gd name="T65" fmla="*/ 130 h 906"/>
              <a:gd name="T66" fmla="*/ 115 w 224"/>
              <a:gd name="T67" fmla="*/ 200 h 906"/>
              <a:gd name="T68" fmla="*/ 128 w 224"/>
              <a:gd name="T69" fmla="*/ 156 h 906"/>
              <a:gd name="T70" fmla="*/ 143 w 224"/>
              <a:gd name="T71" fmla="*/ 147 h 906"/>
              <a:gd name="T72" fmla="*/ 116 w 224"/>
              <a:gd name="T73" fmla="*/ 225 h 906"/>
              <a:gd name="T74" fmla="*/ 138 w 224"/>
              <a:gd name="T75" fmla="*/ 333 h 906"/>
              <a:gd name="T76" fmla="*/ 149 w 224"/>
              <a:gd name="T77" fmla="*/ 315 h 9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24" h="906">
                <a:moveTo>
                  <a:pt x="215" y="296"/>
                </a:moveTo>
                <a:cubicBezTo>
                  <a:pt x="222" y="281"/>
                  <a:pt x="224" y="258"/>
                  <a:pt x="221" y="237"/>
                </a:cubicBezTo>
                <a:cubicBezTo>
                  <a:pt x="219" y="217"/>
                  <a:pt x="217" y="187"/>
                  <a:pt x="211" y="170"/>
                </a:cubicBezTo>
                <a:cubicBezTo>
                  <a:pt x="204" y="152"/>
                  <a:pt x="178" y="151"/>
                  <a:pt x="178" y="151"/>
                </a:cubicBezTo>
                <a:cubicBezTo>
                  <a:pt x="178" y="151"/>
                  <a:pt x="180" y="142"/>
                  <a:pt x="172" y="133"/>
                </a:cubicBezTo>
                <a:cubicBezTo>
                  <a:pt x="164" y="124"/>
                  <a:pt x="163" y="113"/>
                  <a:pt x="161" y="98"/>
                </a:cubicBezTo>
                <a:cubicBezTo>
                  <a:pt x="159" y="82"/>
                  <a:pt x="155" y="72"/>
                  <a:pt x="155" y="62"/>
                </a:cubicBezTo>
                <a:cubicBezTo>
                  <a:pt x="155" y="52"/>
                  <a:pt x="152" y="53"/>
                  <a:pt x="148" y="36"/>
                </a:cubicBezTo>
                <a:cubicBezTo>
                  <a:pt x="144" y="19"/>
                  <a:pt x="127" y="0"/>
                  <a:pt x="107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75" y="0"/>
                  <a:pt x="67" y="48"/>
                  <a:pt x="64" y="64"/>
                </a:cubicBezTo>
                <a:cubicBezTo>
                  <a:pt x="62" y="79"/>
                  <a:pt x="58" y="89"/>
                  <a:pt x="63" y="101"/>
                </a:cubicBezTo>
                <a:cubicBezTo>
                  <a:pt x="68" y="113"/>
                  <a:pt x="62" y="116"/>
                  <a:pt x="50" y="125"/>
                </a:cubicBezTo>
                <a:cubicBezTo>
                  <a:pt x="39" y="135"/>
                  <a:pt x="48" y="145"/>
                  <a:pt x="48" y="145"/>
                </a:cubicBezTo>
                <a:cubicBezTo>
                  <a:pt x="48" y="145"/>
                  <a:pt x="37" y="152"/>
                  <a:pt x="28" y="154"/>
                </a:cubicBezTo>
                <a:cubicBezTo>
                  <a:pt x="19" y="155"/>
                  <a:pt x="9" y="186"/>
                  <a:pt x="7" y="204"/>
                </a:cubicBezTo>
                <a:cubicBezTo>
                  <a:pt x="5" y="221"/>
                  <a:pt x="4" y="220"/>
                  <a:pt x="2" y="233"/>
                </a:cubicBezTo>
                <a:cubicBezTo>
                  <a:pt x="0" y="247"/>
                  <a:pt x="1" y="279"/>
                  <a:pt x="2" y="302"/>
                </a:cubicBezTo>
                <a:cubicBezTo>
                  <a:pt x="4" y="324"/>
                  <a:pt x="31" y="326"/>
                  <a:pt x="31" y="326"/>
                </a:cubicBezTo>
                <a:cubicBezTo>
                  <a:pt x="31" y="326"/>
                  <a:pt x="31" y="348"/>
                  <a:pt x="28" y="360"/>
                </a:cubicBezTo>
                <a:cubicBezTo>
                  <a:pt x="24" y="373"/>
                  <a:pt x="7" y="405"/>
                  <a:pt x="12" y="407"/>
                </a:cubicBezTo>
                <a:cubicBezTo>
                  <a:pt x="16" y="409"/>
                  <a:pt x="31" y="411"/>
                  <a:pt x="31" y="411"/>
                </a:cubicBezTo>
                <a:cubicBezTo>
                  <a:pt x="31" y="411"/>
                  <a:pt x="28" y="447"/>
                  <a:pt x="30" y="465"/>
                </a:cubicBezTo>
                <a:cubicBezTo>
                  <a:pt x="31" y="483"/>
                  <a:pt x="35" y="544"/>
                  <a:pt x="35" y="565"/>
                </a:cubicBezTo>
                <a:cubicBezTo>
                  <a:pt x="35" y="586"/>
                  <a:pt x="50" y="579"/>
                  <a:pt x="50" y="579"/>
                </a:cubicBezTo>
                <a:cubicBezTo>
                  <a:pt x="50" y="579"/>
                  <a:pt x="52" y="592"/>
                  <a:pt x="54" y="607"/>
                </a:cubicBezTo>
                <a:cubicBezTo>
                  <a:pt x="56" y="622"/>
                  <a:pt x="54" y="641"/>
                  <a:pt x="52" y="663"/>
                </a:cubicBezTo>
                <a:cubicBezTo>
                  <a:pt x="51" y="685"/>
                  <a:pt x="75" y="770"/>
                  <a:pt x="81" y="790"/>
                </a:cubicBezTo>
                <a:cubicBezTo>
                  <a:pt x="88" y="809"/>
                  <a:pt x="92" y="819"/>
                  <a:pt x="88" y="831"/>
                </a:cubicBezTo>
                <a:cubicBezTo>
                  <a:pt x="85" y="844"/>
                  <a:pt x="90" y="848"/>
                  <a:pt x="89" y="869"/>
                </a:cubicBezTo>
                <a:cubicBezTo>
                  <a:pt x="89" y="888"/>
                  <a:pt x="96" y="902"/>
                  <a:pt x="107" y="905"/>
                </a:cubicBezTo>
                <a:cubicBezTo>
                  <a:pt x="109" y="906"/>
                  <a:pt x="111" y="906"/>
                  <a:pt x="112" y="906"/>
                </a:cubicBezTo>
                <a:cubicBezTo>
                  <a:pt x="126" y="906"/>
                  <a:pt x="129" y="872"/>
                  <a:pt x="126" y="865"/>
                </a:cubicBezTo>
                <a:cubicBezTo>
                  <a:pt x="123" y="857"/>
                  <a:pt x="122" y="847"/>
                  <a:pt x="122" y="847"/>
                </a:cubicBezTo>
                <a:cubicBezTo>
                  <a:pt x="122" y="847"/>
                  <a:pt x="127" y="853"/>
                  <a:pt x="134" y="855"/>
                </a:cubicBezTo>
                <a:cubicBezTo>
                  <a:pt x="140" y="857"/>
                  <a:pt x="150" y="857"/>
                  <a:pt x="157" y="853"/>
                </a:cubicBezTo>
                <a:cubicBezTo>
                  <a:pt x="164" y="848"/>
                  <a:pt x="151" y="828"/>
                  <a:pt x="141" y="818"/>
                </a:cubicBezTo>
                <a:cubicBezTo>
                  <a:pt x="132" y="808"/>
                  <a:pt x="124" y="784"/>
                  <a:pt x="124" y="764"/>
                </a:cubicBezTo>
                <a:cubicBezTo>
                  <a:pt x="124" y="745"/>
                  <a:pt x="141" y="698"/>
                  <a:pt x="149" y="670"/>
                </a:cubicBezTo>
                <a:cubicBezTo>
                  <a:pt x="158" y="643"/>
                  <a:pt x="153" y="617"/>
                  <a:pt x="156" y="611"/>
                </a:cubicBezTo>
                <a:cubicBezTo>
                  <a:pt x="158" y="605"/>
                  <a:pt x="158" y="582"/>
                  <a:pt x="158" y="582"/>
                </a:cubicBezTo>
                <a:cubicBezTo>
                  <a:pt x="158" y="582"/>
                  <a:pt x="160" y="582"/>
                  <a:pt x="166" y="582"/>
                </a:cubicBezTo>
                <a:cubicBezTo>
                  <a:pt x="172" y="582"/>
                  <a:pt x="172" y="585"/>
                  <a:pt x="172" y="570"/>
                </a:cubicBezTo>
                <a:cubicBezTo>
                  <a:pt x="172" y="555"/>
                  <a:pt x="184" y="497"/>
                  <a:pt x="190" y="474"/>
                </a:cubicBezTo>
                <a:cubicBezTo>
                  <a:pt x="195" y="452"/>
                  <a:pt x="195" y="416"/>
                  <a:pt x="195" y="416"/>
                </a:cubicBezTo>
                <a:cubicBezTo>
                  <a:pt x="195" y="416"/>
                  <a:pt x="199" y="416"/>
                  <a:pt x="206" y="414"/>
                </a:cubicBezTo>
                <a:cubicBezTo>
                  <a:pt x="214" y="413"/>
                  <a:pt x="208" y="399"/>
                  <a:pt x="199" y="371"/>
                </a:cubicBezTo>
                <a:cubicBezTo>
                  <a:pt x="189" y="344"/>
                  <a:pt x="192" y="313"/>
                  <a:pt x="192" y="313"/>
                </a:cubicBezTo>
                <a:cubicBezTo>
                  <a:pt x="192" y="313"/>
                  <a:pt x="208" y="311"/>
                  <a:pt x="215" y="296"/>
                </a:cubicBezTo>
                <a:close/>
                <a:moveTo>
                  <a:pt x="73" y="279"/>
                </a:moveTo>
                <a:cubicBezTo>
                  <a:pt x="73" y="286"/>
                  <a:pt x="71" y="292"/>
                  <a:pt x="71" y="292"/>
                </a:cubicBezTo>
                <a:cubicBezTo>
                  <a:pt x="71" y="292"/>
                  <a:pt x="67" y="292"/>
                  <a:pt x="63" y="289"/>
                </a:cubicBezTo>
                <a:cubicBezTo>
                  <a:pt x="65" y="285"/>
                  <a:pt x="65" y="271"/>
                  <a:pt x="65" y="271"/>
                </a:cubicBezTo>
                <a:cubicBezTo>
                  <a:pt x="73" y="269"/>
                  <a:pt x="73" y="269"/>
                  <a:pt x="73" y="269"/>
                </a:cubicBezTo>
                <a:cubicBezTo>
                  <a:pt x="73" y="269"/>
                  <a:pt x="73" y="272"/>
                  <a:pt x="73" y="279"/>
                </a:cubicBezTo>
                <a:close/>
                <a:moveTo>
                  <a:pt x="110" y="621"/>
                </a:moveTo>
                <a:cubicBezTo>
                  <a:pt x="109" y="625"/>
                  <a:pt x="108" y="631"/>
                  <a:pt x="107" y="637"/>
                </a:cubicBezTo>
                <a:cubicBezTo>
                  <a:pt x="107" y="642"/>
                  <a:pt x="107" y="646"/>
                  <a:pt x="107" y="646"/>
                </a:cubicBezTo>
                <a:cubicBezTo>
                  <a:pt x="107" y="646"/>
                  <a:pt x="106" y="638"/>
                  <a:pt x="106" y="632"/>
                </a:cubicBezTo>
                <a:cubicBezTo>
                  <a:pt x="106" y="626"/>
                  <a:pt x="102" y="620"/>
                  <a:pt x="104" y="612"/>
                </a:cubicBezTo>
                <a:cubicBezTo>
                  <a:pt x="105" y="608"/>
                  <a:pt x="106" y="602"/>
                  <a:pt x="107" y="596"/>
                </a:cubicBezTo>
                <a:cubicBezTo>
                  <a:pt x="109" y="588"/>
                  <a:pt x="110" y="580"/>
                  <a:pt x="110" y="580"/>
                </a:cubicBezTo>
                <a:cubicBezTo>
                  <a:pt x="110" y="601"/>
                  <a:pt x="112" y="615"/>
                  <a:pt x="110" y="621"/>
                </a:cubicBezTo>
                <a:close/>
                <a:moveTo>
                  <a:pt x="116" y="225"/>
                </a:moveTo>
                <a:cubicBezTo>
                  <a:pt x="115" y="231"/>
                  <a:pt x="108" y="214"/>
                  <a:pt x="103" y="195"/>
                </a:cubicBezTo>
                <a:cubicBezTo>
                  <a:pt x="99" y="176"/>
                  <a:pt x="91" y="148"/>
                  <a:pt x="91" y="130"/>
                </a:cubicBezTo>
                <a:cubicBezTo>
                  <a:pt x="91" y="130"/>
                  <a:pt x="105" y="142"/>
                  <a:pt x="105" y="151"/>
                </a:cubicBezTo>
                <a:cubicBezTo>
                  <a:pt x="105" y="161"/>
                  <a:pt x="112" y="191"/>
                  <a:pt x="115" y="200"/>
                </a:cubicBezTo>
                <a:cubicBezTo>
                  <a:pt x="117" y="209"/>
                  <a:pt x="119" y="189"/>
                  <a:pt x="124" y="180"/>
                </a:cubicBezTo>
                <a:cubicBezTo>
                  <a:pt x="129" y="171"/>
                  <a:pt x="131" y="163"/>
                  <a:pt x="128" y="156"/>
                </a:cubicBezTo>
                <a:cubicBezTo>
                  <a:pt x="125" y="149"/>
                  <a:pt x="136" y="146"/>
                  <a:pt x="143" y="128"/>
                </a:cubicBezTo>
                <a:cubicBezTo>
                  <a:pt x="144" y="135"/>
                  <a:pt x="144" y="140"/>
                  <a:pt x="143" y="147"/>
                </a:cubicBezTo>
                <a:cubicBezTo>
                  <a:pt x="143" y="153"/>
                  <a:pt x="132" y="186"/>
                  <a:pt x="129" y="192"/>
                </a:cubicBezTo>
                <a:cubicBezTo>
                  <a:pt x="125" y="199"/>
                  <a:pt x="117" y="219"/>
                  <a:pt x="116" y="225"/>
                </a:cubicBezTo>
                <a:close/>
                <a:moveTo>
                  <a:pt x="149" y="333"/>
                </a:moveTo>
                <a:cubicBezTo>
                  <a:pt x="149" y="333"/>
                  <a:pt x="138" y="338"/>
                  <a:pt x="138" y="333"/>
                </a:cubicBezTo>
                <a:cubicBezTo>
                  <a:pt x="139" y="329"/>
                  <a:pt x="141" y="315"/>
                  <a:pt x="141" y="315"/>
                </a:cubicBezTo>
                <a:cubicBezTo>
                  <a:pt x="149" y="315"/>
                  <a:pt x="149" y="315"/>
                  <a:pt x="149" y="315"/>
                </a:cubicBezTo>
                <a:lnTo>
                  <a:pt x="149" y="333"/>
                </a:lnTo>
                <a:close/>
              </a:path>
            </a:pathLst>
          </a:custGeom>
          <a:solidFill>
            <a:sysClr val="windowText" lastClr="000000">
              <a:lumMod val="75000"/>
              <a:lumOff val="25000"/>
            </a:sysClr>
          </a:solidFill>
          <a:ln>
            <a:noFill/>
          </a:ln>
          <a:effectLst>
            <a:outerShdw blurRad="76200" dir="13500000" sy="23000" kx="1200000" algn="br" rotWithShape="0">
              <a:prstClr val="black">
                <a:alpha val="6000"/>
              </a:prstClr>
            </a:outerShdw>
          </a:effectLst>
        </p:spPr>
        <p:txBody>
          <a:bodyPr vert="horz" wrap="square" lIns="138239" tIns="69119" rIns="138239" bIns="6911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82104" fontAlgn="auto">
              <a:spcBef>
                <a:spcPts val="0"/>
              </a:spcBef>
              <a:spcAft>
                <a:spcPts val="0"/>
              </a:spcAft>
              <a:defRPr/>
            </a:pPr>
            <a:endParaRPr lang="id-ID" sz="2700" b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24" name="Freeform 3"/>
          <p:cNvSpPr>
            <a:spLocks noEditPoints="1"/>
          </p:cNvSpPr>
          <p:nvPr/>
        </p:nvSpPr>
        <p:spPr bwMode="auto">
          <a:xfrm>
            <a:off x="6861111" y="2989217"/>
            <a:ext cx="603785" cy="2496980"/>
          </a:xfrm>
          <a:custGeom>
            <a:avLst/>
            <a:gdLst>
              <a:gd name="T0" fmla="*/ 280 w 287"/>
              <a:gd name="T1" fmla="*/ 271 h 1160"/>
              <a:gd name="T2" fmla="*/ 247 w 287"/>
              <a:gd name="T3" fmla="*/ 188 h 1160"/>
              <a:gd name="T4" fmla="*/ 213 w 287"/>
              <a:gd name="T5" fmla="*/ 135 h 1160"/>
              <a:gd name="T6" fmla="*/ 181 w 287"/>
              <a:gd name="T7" fmla="*/ 23 h 1160"/>
              <a:gd name="T8" fmla="*/ 82 w 287"/>
              <a:gd name="T9" fmla="*/ 57 h 1160"/>
              <a:gd name="T10" fmla="*/ 76 w 287"/>
              <a:gd name="T11" fmla="*/ 189 h 1160"/>
              <a:gd name="T12" fmla="*/ 40 w 287"/>
              <a:gd name="T13" fmla="*/ 237 h 1160"/>
              <a:gd name="T14" fmla="*/ 4 w 287"/>
              <a:gd name="T15" fmla="*/ 366 h 1160"/>
              <a:gd name="T16" fmla="*/ 7 w 287"/>
              <a:gd name="T17" fmla="*/ 412 h 1160"/>
              <a:gd name="T18" fmla="*/ 40 w 287"/>
              <a:gd name="T19" fmla="*/ 467 h 1160"/>
              <a:gd name="T20" fmla="*/ 35 w 287"/>
              <a:gd name="T21" fmla="*/ 546 h 1160"/>
              <a:gd name="T22" fmla="*/ 27 w 287"/>
              <a:gd name="T23" fmla="*/ 759 h 1160"/>
              <a:gd name="T24" fmla="*/ 47 w 287"/>
              <a:gd name="T25" fmla="*/ 843 h 1160"/>
              <a:gd name="T26" fmla="*/ 75 w 287"/>
              <a:gd name="T27" fmla="*/ 1036 h 1160"/>
              <a:gd name="T28" fmla="*/ 44 w 287"/>
              <a:gd name="T29" fmla="*/ 1127 h 1160"/>
              <a:gd name="T30" fmla="*/ 70 w 287"/>
              <a:gd name="T31" fmla="*/ 1155 h 1160"/>
              <a:gd name="T32" fmla="*/ 108 w 287"/>
              <a:gd name="T33" fmla="*/ 1107 h 1160"/>
              <a:gd name="T34" fmla="*/ 107 w 287"/>
              <a:gd name="T35" fmla="*/ 1141 h 1160"/>
              <a:gd name="T36" fmla="*/ 119 w 287"/>
              <a:gd name="T37" fmla="*/ 1132 h 1160"/>
              <a:gd name="T38" fmla="*/ 117 w 287"/>
              <a:gd name="T39" fmla="*/ 1050 h 1160"/>
              <a:gd name="T40" fmla="*/ 115 w 287"/>
              <a:gd name="T41" fmla="*/ 885 h 1160"/>
              <a:gd name="T42" fmla="*/ 167 w 287"/>
              <a:gd name="T43" fmla="*/ 851 h 1160"/>
              <a:gd name="T44" fmla="*/ 169 w 287"/>
              <a:gd name="T45" fmla="*/ 977 h 1160"/>
              <a:gd name="T46" fmla="*/ 154 w 287"/>
              <a:gd name="T47" fmla="*/ 1096 h 1160"/>
              <a:gd name="T48" fmla="*/ 148 w 287"/>
              <a:gd name="T49" fmla="*/ 1159 h 1160"/>
              <a:gd name="T50" fmla="*/ 205 w 287"/>
              <a:gd name="T51" fmla="*/ 1104 h 1160"/>
              <a:gd name="T52" fmla="*/ 202 w 287"/>
              <a:gd name="T53" fmla="*/ 1043 h 1160"/>
              <a:gd name="T54" fmla="*/ 234 w 287"/>
              <a:gd name="T55" fmla="*/ 852 h 1160"/>
              <a:gd name="T56" fmla="*/ 251 w 287"/>
              <a:gd name="T57" fmla="*/ 721 h 1160"/>
              <a:gd name="T58" fmla="*/ 265 w 287"/>
              <a:gd name="T59" fmla="*/ 535 h 1160"/>
              <a:gd name="T60" fmla="*/ 258 w 287"/>
              <a:gd name="T61" fmla="*/ 449 h 1160"/>
              <a:gd name="T62" fmla="*/ 244 w 287"/>
              <a:gd name="T63" fmla="*/ 388 h 1160"/>
              <a:gd name="T64" fmla="*/ 102 w 287"/>
              <a:gd name="T65" fmla="*/ 452 h 1160"/>
              <a:gd name="T66" fmla="*/ 114 w 287"/>
              <a:gd name="T67" fmla="*/ 452 h 1160"/>
              <a:gd name="T68" fmla="*/ 168 w 287"/>
              <a:gd name="T69" fmla="*/ 213 h 1160"/>
              <a:gd name="T70" fmla="*/ 117 w 287"/>
              <a:gd name="T71" fmla="*/ 344 h 1160"/>
              <a:gd name="T72" fmla="*/ 114 w 287"/>
              <a:gd name="T73" fmla="*/ 257 h 1160"/>
              <a:gd name="T74" fmla="*/ 102 w 287"/>
              <a:gd name="T75" fmla="*/ 205 h 1160"/>
              <a:gd name="T76" fmla="*/ 134 w 287"/>
              <a:gd name="T77" fmla="*/ 223 h 1160"/>
              <a:gd name="T78" fmla="*/ 152 w 287"/>
              <a:gd name="T79" fmla="*/ 222 h 1160"/>
              <a:gd name="T80" fmla="*/ 159 w 287"/>
              <a:gd name="T81" fmla="*/ 184 h 1160"/>
              <a:gd name="T82" fmla="*/ 189 w 287"/>
              <a:gd name="T83" fmla="*/ 176 h 1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87" h="1160">
                <a:moveTo>
                  <a:pt x="257" y="366"/>
                </a:moveTo>
                <a:cubicBezTo>
                  <a:pt x="258" y="353"/>
                  <a:pt x="279" y="285"/>
                  <a:pt x="280" y="271"/>
                </a:cubicBezTo>
                <a:cubicBezTo>
                  <a:pt x="281" y="257"/>
                  <a:pt x="287" y="214"/>
                  <a:pt x="282" y="199"/>
                </a:cubicBezTo>
                <a:cubicBezTo>
                  <a:pt x="277" y="183"/>
                  <a:pt x="247" y="188"/>
                  <a:pt x="247" y="188"/>
                </a:cubicBezTo>
                <a:cubicBezTo>
                  <a:pt x="247" y="188"/>
                  <a:pt x="240" y="172"/>
                  <a:pt x="226" y="168"/>
                </a:cubicBezTo>
                <a:cubicBezTo>
                  <a:pt x="211" y="164"/>
                  <a:pt x="229" y="145"/>
                  <a:pt x="213" y="135"/>
                </a:cubicBezTo>
                <a:cubicBezTo>
                  <a:pt x="203" y="128"/>
                  <a:pt x="206" y="92"/>
                  <a:pt x="202" y="78"/>
                </a:cubicBezTo>
                <a:cubicBezTo>
                  <a:pt x="199" y="64"/>
                  <a:pt x="190" y="35"/>
                  <a:pt x="181" y="23"/>
                </a:cubicBezTo>
                <a:cubicBezTo>
                  <a:pt x="171" y="10"/>
                  <a:pt x="152" y="17"/>
                  <a:pt x="152" y="17"/>
                </a:cubicBezTo>
                <a:cubicBezTo>
                  <a:pt x="108" y="0"/>
                  <a:pt x="86" y="37"/>
                  <a:pt x="82" y="57"/>
                </a:cubicBezTo>
                <a:cubicBezTo>
                  <a:pt x="79" y="77"/>
                  <a:pt x="89" y="114"/>
                  <a:pt x="77" y="140"/>
                </a:cubicBezTo>
                <a:cubicBezTo>
                  <a:pt x="66" y="165"/>
                  <a:pt x="91" y="174"/>
                  <a:pt x="76" y="189"/>
                </a:cubicBezTo>
                <a:cubicBezTo>
                  <a:pt x="60" y="203"/>
                  <a:pt x="74" y="208"/>
                  <a:pt x="59" y="215"/>
                </a:cubicBezTo>
                <a:cubicBezTo>
                  <a:pt x="45" y="221"/>
                  <a:pt x="40" y="224"/>
                  <a:pt x="40" y="237"/>
                </a:cubicBezTo>
                <a:cubicBezTo>
                  <a:pt x="40" y="250"/>
                  <a:pt x="28" y="284"/>
                  <a:pt x="22" y="314"/>
                </a:cubicBezTo>
                <a:cubicBezTo>
                  <a:pt x="15" y="344"/>
                  <a:pt x="8" y="355"/>
                  <a:pt x="4" y="366"/>
                </a:cubicBezTo>
                <a:cubicBezTo>
                  <a:pt x="0" y="378"/>
                  <a:pt x="2" y="382"/>
                  <a:pt x="4" y="388"/>
                </a:cubicBezTo>
                <a:cubicBezTo>
                  <a:pt x="6" y="393"/>
                  <a:pt x="7" y="394"/>
                  <a:pt x="7" y="412"/>
                </a:cubicBezTo>
                <a:cubicBezTo>
                  <a:pt x="7" y="431"/>
                  <a:pt x="38" y="434"/>
                  <a:pt x="38" y="434"/>
                </a:cubicBezTo>
                <a:cubicBezTo>
                  <a:pt x="38" y="434"/>
                  <a:pt x="40" y="451"/>
                  <a:pt x="40" y="467"/>
                </a:cubicBezTo>
                <a:cubicBezTo>
                  <a:pt x="40" y="482"/>
                  <a:pt x="30" y="526"/>
                  <a:pt x="28" y="538"/>
                </a:cubicBezTo>
                <a:cubicBezTo>
                  <a:pt x="26" y="550"/>
                  <a:pt x="35" y="546"/>
                  <a:pt x="35" y="546"/>
                </a:cubicBezTo>
                <a:cubicBezTo>
                  <a:pt x="35" y="546"/>
                  <a:pt x="35" y="559"/>
                  <a:pt x="33" y="578"/>
                </a:cubicBezTo>
                <a:cubicBezTo>
                  <a:pt x="30" y="597"/>
                  <a:pt x="27" y="724"/>
                  <a:pt x="27" y="759"/>
                </a:cubicBezTo>
                <a:cubicBezTo>
                  <a:pt x="27" y="794"/>
                  <a:pt x="23" y="842"/>
                  <a:pt x="27" y="842"/>
                </a:cubicBezTo>
                <a:cubicBezTo>
                  <a:pt x="32" y="842"/>
                  <a:pt x="47" y="843"/>
                  <a:pt x="47" y="843"/>
                </a:cubicBezTo>
                <a:cubicBezTo>
                  <a:pt x="47" y="843"/>
                  <a:pt x="45" y="866"/>
                  <a:pt x="46" y="895"/>
                </a:cubicBezTo>
                <a:cubicBezTo>
                  <a:pt x="47" y="923"/>
                  <a:pt x="70" y="1014"/>
                  <a:pt x="75" y="1036"/>
                </a:cubicBezTo>
                <a:cubicBezTo>
                  <a:pt x="79" y="1059"/>
                  <a:pt x="78" y="1079"/>
                  <a:pt x="70" y="1091"/>
                </a:cubicBezTo>
                <a:cubicBezTo>
                  <a:pt x="63" y="1103"/>
                  <a:pt x="57" y="1118"/>
                  <a:pt x="44" y="1127"/>
                </a:cubicBezTo>
                <a:cubicBezTo>
                  <a:pt x="31" y="1137"/>
                  <a:pt x="26" y="1141"/>
                  <a:pt x="28" y="1150"/>
                </a:cubicBezTo>
                <a:cubicBezTo>
                  <a:pt x="30" y="1158"/>
                  <a:pt x="46" y="1156"/>
                  <a:pt x="70" y="1155"/>
                </a:cubicBezTo>
                <a:cubicBezTo>
                  <a:pt x="94" y="1154"/>
                  <a:pt x="91" y="1139"/>
                  <a:pt x="94" y="1132"/>
                </a:cubicBezTo>
                <a:cubicBezTo>
                  <a:pt x="97" y="1125"/>
                  <a:pt x="108" y="1107"/>
                  <a:pt x="108" y="1107"/>
                </a:cubicBezTo>
                <a:cubicBezTo>
                  <a:pt x="108" y="1107"/>
                  <a:pt x="111" y="1110"/>
                  <a:pt x="111" y="1118"/>
                </a:cubicBezTo>
                <a:cubicBezTo>
                  <a:pt x="111" y="1127"/>
                  <a:pt x="107" y="1141"/>
                  <a:pt x="107" y="1141"/>
                </a:cubicBezTo>
                <a:cubicBezTo>
                  <a:pt x="117" y="1141"/>
                  <a:pt x="117" y="1141"/>
                  <a:pt x="117" y="1141"/>
                </a:cubicBezTo>
                <a:cubicBezTo>
                  <a:pt x="117" y="1141"/>
                  <a:pt x="120" y="1140"/>
                  <a:pt x="119" y="1132"/>
                </a:cubicBezTo>
                <a:cubicBezTo>
                  <a:pt x="118" y="1124"/>
                  <a:pt x="123" y="1106"/>
                  <a:pt x="127" y="1091"/>
                </a:cubicBezTo>
                <a:cubicBezTo>
                  <a:pt x="132" y="1075"/>
                  <a:pt x="123" y="1057"/>
                  <a:pt x="117" y="1050"/>
                </a:cubicBezTo>
                <a:cubicBezTo>
                  <a:pt x="112" y="1044"/>
                  <a:pt x="114" y="1009"/>
                  <a:pt x="115" y="974"/>
                </a:cubicBezTo>
                <a:cubicBezTo>
                  <a:pt x="117" y="939"/>
                  <a:pt x="119" y="901"/>
                  <a:pt x="115" y="885"/>
                </a:cubicBezTo>
                <a:cubicBezTo>
                  <a:pt x="112" y="868"/>
                  <a:pt x="107" y="846"/>
                  <a:pt x="107" y="846"/>
                </a:cubicBezTo>
                <a:cubicBezTo>
                  <a:pt x="167" y="851"/>
                  <a:pt x="167" y="851"/>
                  <a:pt x="167" y="851"/>
                </a:cubicBezTo>
                <a:cubicBezTo>
                  <a:pt x="167" y="851"/>
                  <a:pt x="169" y="863"/>
                  <a:pt x="169" y="889"/>
                </a:cubicBezTo>
                <a:cubicBezTo>
                  <a:pt x="169" y="916"/>
                  <a:pt x="169" y="934"/>
                  <a:pt x="169" y="977"/>
                </a:cubicBezTo>
                <a:cubicBezTo>
                  <a:pt x="169" y="1019"/>
                  <a:pt x="165" y="1035"/>
                  <a:pt x="160" y="1051"/>
                </a:cubicBezTo>
                <a:cubicBezTo>
                  <a:pt x="156" y="1068"/>
                  <a:pt x="159" y="1080"/>
                  <a:pt x="154" y="1096"/>
                </a:cubicBezTo>
                <a:cubicBezTo>
                  <a:pt x="149" y="1113"/>
                  <a:pt x="140" y="1125"/>
                  <a:pt x="135" y="1134"/>
                </a:cubicBezTo>
                <a:cubicBezTo>
                  <a:pt x="129" y="1143"/>
                  <a:pt x="127" y="1158"/>
                  <a:pt x="148" y="1159"/>
                </a:cubicBezTo>
                <a:cubicBezTo>
                  <a:pt x="170" y="1160"/>
                  <a:pt x="196" y="1150"/>
                  <a:pt x="196" y="1140"/>
                </a:cubicBezTo>
                <a:cubicBezTo>
                  <a:pt x="196" y="1131"/>
                  <a:pt x="198" y="1119"/>
                  <a:pt x="205" y="1104"/>
                </a:cubicBezTo>
                <a:cubicBezTo>
                  <a:pt x="213" y="1088"/>
                  <a:pt x="206" y="1075"/>
                  <a:pt x="204" y="1069"/>
                </a:cubicBezTo>
                <a:cubicBezTo>
                  <a:pt x="201" y="1062"/>
                  <a:pt x="202" y="1055"/>
                  <a:pt x="202" y="1043"/>
                </a:cubicBezTo>
                <a:cubicBezTo>
                  <a:pt x="202" y="1031"/>
                  <a:pt x="213" y="991"/>
                  <a:pt x="225" y="947"/>
                </a:cubicBezTo>
                <a:cubicBezTo>
                  <a:pt x="237" y="903"/>
                  <a:pt x="234" y="852"/>
                  <a:pt x="234" y="852"/>
                </a:cubicBezTo>
                <a:cubicBezTo>
                  <a:pt x="243" y="852"/>
                  <a:pt x="243" y="852"/>
                  <a:pt x="243" y="852"/>
                </a:cubicBezTo>
                <a:cubicBezTo>
                  <a:pt x="243" y="852"/>
                  <a:pt x="244" y="787"/>
                  <a:pt x="251" y="721"/>
                </a:cubicBezTo>
                <a:cubicBezTo>
                  <a:pt x="258" y="654"/>
                  <a:pt x="248" y="585"/>
                  <a:pt x="248" y="566"/>
                </a:cubicBezTo>
                <a:cubicBezTo>
                  <a:pt x="248" y="547"/>
                  <a:pt x="255" y="539"/>
                  <a:pt x="265" y="535"/>
                </a:cubicBezTo>
                <a:cubicBezTo>
                  <a:pt x="276" y="530"/>
                  <a:pt x="277" y="528"/>
                  <a:pt x="272" y="510"/>
                </a:cubicBezTo>
                <a:cubicBezTo>
                  <a:pt x="266" y="492"/>
                  <a:pt x="258" y="449"/>
                  <a:pt x="258" y="449"/>
                </a:cubicBezTo>
                <a:cubicBezTo>
                  <a:pt x="258" y="449"/>
                  <a:pt x="257" y="443"/>
                  <a:pt x="251" y="424"/>
                </a:cubicBezTo>
                <a:cubicBezTo>
                  <a:pt x="244" y="406"/>
                  <a:pt x="244" y="388"/>
                  <a:pt x="244" y="388"/>
                </a:cubicBezTo>
                <a:cubicBezTo>
                  <a:pt x="244" y="388"/>
                  <a:pt x="256" y="378"/>
                  <a:pt x="257" y="366"/>
                </a:cubicBezTo>
                <a:close/>
                <a:moveTo>
                  <a:pt x="102" y="452"/>
                </a:moveTo>
                <a:cubicBezTo>
                  <a:pt x="110" y="434"/>
                  <a:pt x="110" y="434"/>
                  <a:pt x="110" y="434"/>
                </a:cubicBezTo>
                <a:cubicBezTo>
                  <a:pt x="114" y="452"/>
                  <a:pt x="114" y="452"/>
                  <a:pt x="114" y="452"/>
                </a:cubicBezTo>
                <a:lnTo>
                  <a:pt x="102" y="452"/>
                </a:lnTo>
                <a:close/>
                <a:moveTo>
                  <a:pt x="168" y="213"/>
                </a:moveTo>
                <a:cubicBezTo>
                  <a:pt x="158" y="230"/>
                  <a:pt x="141" y="260"/>
                  <a:pt x="135" y="285"/>
                </a:cubicBezTo>
                <a:cubicBezTo>
                  <a:pt x="128" y="309"/>
                  <a:pt x="117" y="344"/>
                  <a:pt x="117" y="344"/>
                </a:cubicBezTo>
                <a:cubicBezTo>
                  <a:pt x="117" y="344"/>
                  <a:pt x="116" y="338"/>
                  <a:pt x="115" y="329"/>
                </a:cubicBezTo>
                <a:cubicBezTo>
                  <a:pt x="114" y="320"/>
                  <a:pt x="114" y="277"/>
                  <a:pt x="114" y="257"/>
                </a:cubicBezTo>
                <a:cubicBezTo>
                  <a:pt x="114" y="237"/>
                  <a:pt x="115" y="220"/>
                  <a:pt x="112" y="219"/>
                </a:cubicBezTo>
                <a:cubicBezTo>
                  <a:pt x="108" y="217"/>
                  <a:pt x="102" y="205"/>
                  <a:pt x="102" y="205"/>
                </a:cubicBezTo>
                <a:cubicBezTo>
                  <a:pt x="124" y="175"/>
                  <a:pt x="124" y="175"/>
                  <a:pt x="124" y="175"/>
                </a:cubicBezTo>
                <a:cubicBezTo>
                  <a:pt x="117" y="218"/>
                  <a:pt x="129" y="210"/>
                  <a:pt x="134" y="223"/>
                </a:cubicBezTo>
                <a:cubicBezTo>
                  <a:pt x="138" y="236"/>
                  <a:pt x="133" y="269"/>
                  <a:pt x="136" y="253"/>
                </a:cubicBezTo>
                <a:cubicBezTo>
                  <a:pt x="138" y="238"/>
                  <a:pt x="146" y="237"/>
                  <a:pt x="152" y="222"/>
                </a:cubicBezTo>
                <a:cubicBezTo>
                  <a:pt x="159" y="207"/>
                  <a:pt x="139" y="196"/>
                  <a:pt x="139" y="196"/>
                </a:cubicBezTo>
                <a:cubicBezTo>
                  <a:pt x="139" y="196"/>
                  <a:pt x="150" y="192"/>
                  <a:pt x="159" y="184"/>
                </a:cubicBezTo>
                <a:cubicBezTo>
                  <a:pt x="169" y="175"/>
                  <a:pt x="182" y="164"/>
                  <a:pt x="182" y="164"/>
                </a:cubicBezTo>
                <a:cubicBezTo>
                  <a:pt x="189" y="176"/>
                  <a:pt x="189" y="176"/>
                  <a:pt x="189" y="176"/>
                </a:cubicBezTo>
                <a:cubicBezTo>
                  <a:pt x="189" y="176"/>
                  <a:pt x="178" y="196"/>
                  <a:pt x="168" y="213"/>
                </a:cubicBezTo>
                <a:close/>
              </a:path>
            </a:pathLst>
          </a:custGeom>
          <a:solidFill>
            <a:sysClr val="windowText" lastClr="000000">
              <a:lumMod val="65000"/>
              <a:lumOff val="35000"/>
            </a:sysClr>
          </a:solidFill>
          <a:ln>
            <a:noFill/>
          </a:ln>
          <a:effectLst>
            <a:outerShdw blurRad="76200" dir="13500000" sy="23000" kx="1200000" algn="br" rotWithShape="0">
              <a:prstClr val="black">
                <a:alpha val="6000"/>
              </a:prstClr>
            </a:outerShdw>
          </a:effectLst>
        </p:spPr>
        <p:txBody>
          <a:bodyPr vert="horz" wrap="square" lIns="138239" tIns="69119" rIns="138239" bIns="6911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82104" fontAlgn="auto">
              <a:spcBef>
                <a:spcPts val="0"/>
              </a:spcBef>
              <a:spcAft>
                <a:spcPts val="0"/>
              </a:spcAft>
              <a:defRPr/>
            </a:pPr>
            <a:endParaRPr lang="id-ID" sz="2700" b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25" name="Freeform 5"/>
          <p:cNvSpPr>
            <a:spLocks noEditPoints="1"/>
          </p:cNvSpPr>
          <p:nvPr/>
        </p:nvSpPr>
        <p:spPr bwMode="auto">
          <a:xfrm>
            <a:off x="10495229" y="3035820"/>
            <a:ext cx="786516" cy="2558269"/>
          </a:xfrm>
          <a:custGeom>
            <a:avLst/>
            <a:gdLst>
              <a:gd name="T0" fmla="*/ 412 w 463"/>
              <a:gd name="T1" fmla="*/ 379 h 1470"/>
              <a:gd name="T2" fmla="*/ 323 w 463"/>
              <a:gd name="T3" fmla="*/ 262 h 1470"/>
              <a:gd name="T4" fmla="*/ 285 w 463"/>
              <a:gd name="T5" fmla="*/ 285 h 1470"/>
              <a:gd name="T6" fmla="*/ 267 w 463"/>
              <a:gd name="T7" fmla="*/ 261 h 1470"/>
              <a:gd name="T8" fmla="*/ 184 w 463"/>
              <a:gd name="T9" fmla="*/ 204 h 1470"/>
              <a:gd name="T10" fmla="*/ 217 w 463"/>
              <a:gd name="T11" fmla="*/ 229 h 1470"/>
              <a:gd name="T12" fmla="*/ 275 w 463"/>
              <a:gd name="T13" fmla="*/ 231 h 1470"/>
              <a:gd name="T14" fmla="*/ 275 w 463"/>
              <a:gd name="T15" fmla="*/ 231 h 1470"/>
              <a:gd name="T16" fmla="*/ 280 w 463"/>
              <a:gd name="T17" fmla="*/ 213 h 1470"/>
              <a:gd name="T18" fmla="*/ 313 w 463"/>
              <a:gd name="T19" fmla="*/ 121 h 1470"/>
              <a:gd name="T20" fmla="*/ 312 w 463"/>
              <a:gd name="T21" fmla="*/ 65 h 1470"/>
              <a:gd name="T22" fmla="*/ 194 w 463"/>
              <a:gd name="T23" fmla="*/ 42 h 1470"/>
              <a:gd name="T24" fmla="*/ 186 w 463"/>
              <a:gd name="T25" fmla="*/ 51 h 1470"/>
              <a:gd name="T26" fmla="*/ 175 w 463"/>
              <a:gd name="T27" fmla="*/ 119 h 1470"/>
              <a:gd name="T28" fmla="*/ 178 w 463"/>
              <a:gd name="T29" fmla="*/ 165 h 1470"/>
              <a:gd name="T30" fmla="*/ 181 w 463"/>
              <a:gd name="T31" fmla="*/ 201 h 1470"/>
              <a:gd name="T32" fmla="*/ 175 w 463"/>
              <a:gd name="T33" fmla="*/ 217 h 1470"/>
              <a:gd name="T34" fmla="*/ 79 w 463"/>
              <a:gd name="T35" fmla="*/ 333 h 1470"/>
              <a:gd name="T36" fmla="*/ 104 w 463"/>
              <a:gd name="T37" fmla="*/ 477 h 1470"/>
              <a:gd name="T38" fmla="*/ 99 w 463"/>
              <a:gd name="T39" fmla="*/ 610 h 1470"/>
              <a:gd name="T40" fmla="*/ 85 w 463"/>
              <a:gd name="T41" fmla="*/ 763 h 1470"/>
              <a:gd name="T42" fmla="*/ 69 w 463"/>
              <a:gd name="T43" fmla="*/ 975 h 1470"/>
              <a:gd name="T44" fmla="*/ 8 w 463"/>
              <a:gd name="T45" fmla="*/ 1383 h 1470"/>
              <a:gd name="T46" fmla="*/ 11 w 463"/>
              <a:gd name="T47" fmla="*/ 1423 h 1470"/>
              <a:gd name="T48" fmla="*/ 108 w 463"/>
              <a:gd name="T49" fmla="*/ 1468 h 1470"/>
              <a:gd name="T50" fmla="*/ 96 w 463"/>
              <a:gd name="T51" fmla="*/ 1398 h 1470"/>
              <a:gd name="T52" fmla="*/ 153 w 463"/>
              <a:gd name="T53" fmla="*/ 1231 h 1470"/>
              <a:gd name="T54" fmla="*/ 220 w 463"/>
              <a:gd name="T55" fmla="*/ 1100 h 1470"/>
              <a:gd name="T56" fmla="*/ 215 w 463"/>
              <a:gd name="T57" fmla="*/ 1363 h 1470"/>
              <a:gd name="T58" fmla="*/ 242 w 463"/>
              <a:gd name="T59" fmla="*/ 1391 h 1470"/>
              <a:gd name="T60" fmla="*/ 297 w 463"/>
              <a:gd name="T61" fmla="*/ 1388 h 1470"/>
              <a:gd name="T62" fmla="*/ 429 w 463"/>
              <a:gd name="T63" fmla="*/ 1397 h 1470"/>
              <a:gd name="T64" fmla="*/ 342 w 463"/>
              <a:gd name="T65" fmla="*/ 1344 h 1470"/>
              <a:gd name="T66" fmla="*/ 316 w 463"/>
              <a:gd name="T67" fmla="*/ 1300 h 1470"/>
              <a:gd name="T68" fmla="*/ 337 w 463"/>
              <a:gd name="T69" fmla="*/ 1080 h 1470"/>
              <a:gd name="T70" fmla="*/ 376 w 463"/>
              <a:gd name="T71" fmla="*/ 792 h 1470"/>
              <a:gd name="T72" fmla="*/ 388 w 463"/>
              <a:gd name="T73" fmla="*/ 747 h 1470"/>
              <a:gd name="T74" fmla="*/ 359 w 463"/>
              <a:gd name="T75" fmla="*/ 534 h 1470"/>
              <a:gd name="T76" fmla="*/ 385 w 463"/>
              <a:gd name="T77" fmla="*/ 500 h 1470"/>
              <a:gd name="T78" fmla="*/ 454 w 463"/>
              <a:gd name="T79" fmla="*/ 422 h 1470"/>
              <a:gd name="T80" fmla="*/ 330 w 463"/>
              <a:gd name="T81" fmla="*/ 437 h 1470"/>
              <a:gd name="T82" fmla="*/ 327 w 463"/>
              <a:gd name="T83" fmla="*/ 411 h 1470"/>
              <a:gd name="T84" fmla="*/ 311 w 463"/>
              <a:gd name="T85" fmla="*/ 458 h 1470"/>
              <a:gd name="T86" fmla="*/ 353 w 463"/>
              <a:gd name="T87" fmla="*/ 483 h 1470"/>
              <a:gd name="T88" fmla="*/ 350 w 463"/>
              <a:gd name="T89" fmla="*/ 540 h 1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63" h="1470">
                <a:moveTo>
                  <a:pt x="454" y="422"/>
                </a:moveTo>
                <a:cubicBezTo>
                  <a:pt x="448" y="394"/>
                  <a:pt x="430" y="395"/>
                  <a:pt x="412" y="379"/>
                </a:cubicBezTo>
                <a:cubicBezTo>
                  <a:pt x="395" y="363"/>
                  <a:pt x="381" y="350"/>
                  <a:pt x="379" y="321"/>
                </a:cubicBezTo>
                <a:cubicBezTo>
                  <a:pt x="376" y="291"/>
                  <a:pt x="344" y="267"/>
                  <a:pt x="323" y="262"/>
                </a:cubicBezTo>
                <a:cubicBezTo>
                  <a:pt x="304" y="258"/>
                  <a:pt x="286" y="248"/>
                  <a:pt x="281" y="246"/>
                </a:cubicBezTo>
                <a:cubicBezTo>
                  <a:pt x="280" y="254"/>
                  <a:pt x="283" y="272"/>
                  <a:pt x="285" y="285"/>
                </a:cubicBezTo>
                <a:cubicBezTo>
                  <a:pt x="284" y="286"/>
                  <a:pt x="282" y="284"/>
                  <a:pt x="281" y="281"/>
                </a:cubicBezTo>
                <a:cubicBezTo>
                  <a:pt x="274" y="266"/>
                  <a:pt x="272" y="258"/>
                  <a:pt x="267" y="261"/>
                </a:cubicBezTo>
                <a:cubicBezTo>
                  <a:pt x="263" y="263"/>
                  <a:pt x="260" y="273"/>
                  <a:pt x="257" y="282"/>
                </a:cubicBezTo>
                <a:cubicBezTo>
                  <a:pt x="241" y="262"/>
                  <a:pt x="203" y="221"/>
                  <a:pt x="184" y="204"/>
                </a:cubicBezTo>
                <a:cubicBezTo>
                  <a:pt x="185" y="202"/>
                  <a:pt x="187" y="200"/>
                  <a:pt x="189" y="199"/>
                </a:cubicBezTo>
                <a:cubicBezTo>
                  <a:pt x="194" y="208"/>
                  <a:pt x="205" y="223"/>
                  <a:pt x="217" y="229"/>
                </a:cubicBezTo>
                <a:cubicBezTo>
                  <a:pt x="232" y="237"/>
                  <a:pt x="266" y="257"/>
                  <a:pt x="266" y="257"/>
                </a:cubicBezTo>
                <a:cubicBezTo>
                  <a:pt x="266" y="257"/>
                  <a:pt x="273" y="241"/>
                  <a:pt x="275" y="231"/>
                </a:cubicBezTo>
                <a:cubicBezTo>
                  <a:pt x="275" y="230"/>
                  <a:pt x="275" y="230"/>
                  <a:pt x="275" y="230"/>
                </a:cubicBezTo>
                <a:cubicBezTo>
                  <a:pt x="275" y="231"/>
                  <a:pt x="275" y="231"/>
                  <a:pt x="275" y="231"/>
                </a:cubicBezTo>
                <a:cubicBezTo>
                  <a:pt x="275" y="230"/>
                  <a:pt x="275" y="228"/>
                  <a:pt x="275" y="227"/>
                </a:cubicBezTo>
                <a:cubicBezTo>
                  <a:pt x="275" y="220"/>
                  <a:pt x="273" y="215"/>
                  <a:pt x="280" y="213"/>
                </a:cubicBezTo>
                <a:cubicBezTo>
                  <a:pt x="288" y="211"/>
                  <a:pt x="299" y="185"/>
                  <a:pt x="302" y="169"/>
                </a:cubicBezTo>
                <a:cubicBezTo>
                  <a:pt x="306" y="153"/>
                  <a:pt x="306" y="139"/>
                  <a:pt x="313" y="121"/>
                </a:cubicBezTo>
                <a:cubicBezTo>
                  <a:pt x="321" y="104"/>
                  <a:pt x="320" y="87"/>
                  <a:pt x="312" y="65"/>
                </a:cubicBezTo>
                <a:cubicBezTo>
                  <a:pt x="312" y="65"/>
                  <a:pt x="312" y="65"/>
                  <a:pt x="312" y="65"/>
                </a:cubicBezTo>
                <a:cubicBezTo>
                  <a:pt x="300" y="14"/>
                  <a:pt x="277" y="28"/>
                  <a:pt x="277" y="28"/>
                </a:cubicBezTo>
                <a:cubicBezTo>
                  <a:pt x="246" y="0"/>
                  <a:pt x="210" y="26"/>
                  <a:pt x="194" y="42"/>
                </a:cubicBezTo>
                <a:cubicBezTo>
                  <a:pt x="194" y="42"/>
                  <a:pt x="194" y="42"/>
                  <a:pt x="193" y="42"/>
                </a:cubicBezTo>
                <a:cubicBezTo>
                  <a:pt x="190" y="44"/>
                  <a:pt x="188" y="47"/>
                  <a:pt x="186" y="51"/>
                </a:cubicBezTo>
                <a:cubicBezTo>
                  <a:pt x="186" y="51"/>
                  <a:pt x="186" y="51"/>
                  <a:pt x="186" y="51"/>
                </a:cubicBezTo>
                <a:cubicBezTo>
                  <a:pt x="171" y="73"/>
                  <a:pt x="175" y="119"/>
                  <a:pt x="175" y="119"/>
                </a:cubicBezTo>
                <a:cubicBezTo>
                  <a:pt x="175" y="119"/>
                  <a:pt x="173" y="120"/>
                  <a:pt x="171" y="131"/>
                </a:cubicBezTo>
                <a:cubicBezTo>
                  <a:pt x="170" y="142"/>
                  <a:pt x="175" y="159"/>
                  <a:pt x="178" y="165"/>
                </a:cubicBezTo>
                <a:cubicBezTo>
                  <a:pt x="180" y="171"/>
                  <a:pt x="185" y="172"/>
                  <a:pt x="186" y="177"/>
                </a:cubicBezTo>
                <a:cubicBezTo>
                  <a:pt x="186" y="177"/>
                  <a:pt x="184" y="189"/>
                  <a:pt x="181" y="201"/>
                </a:cubicBezTo>
                <a:cubicBezTo>
                  <a:pt x="181" y="201"/>
                  <a:pt x="181" y="201"/>
                  <a:pt x="180" y="201"/>
                </a:cubicBezTo>
                <a:cubicBezTo>
                  <a:pt x="179" y="203"/>
                  <a:pt x="181" y="206"/>
                  <a:pt x="175" y="217"/>
                </a:cubicBezTo>
                <a:cubicBezTo>
                  <a:pt x="166" y="231"/>
                  <a:pt x="153" y="236"/>
                  <a:pt x="121" y="253"/>
                </a:cubicBezTo>
                <a:cubicBezTo>
                  <a:pt x="90" y="269"/>
                  <a:pt x="82" y="302"/>
                  <a:pt x="79" y="333"/>
                </a:cubicBezTo>
                <a:cubicBezTo>
                  <a:pt x="76" y="365"/>
                  <a:pt x="71" y="389"/>
                  <a:pt x="76" y="396"/>
                </a:cubicBezTo>
                <a:cubicBezTo>
                  <a:pt x="81" y="403"/>
                  <a:pt x="93" y="443"/>
                  <a:pt x="104" y="477"/>
                </a:cubicBezTo>
                <a:cubicBezTo>
                  <a:pt x="116" y="510"/>
                  <a:pt x="111" y="549"/>
                  <a:pt x="109" y="564"/>
                </a:cubicBezTo>
                <a:cubicBezTo>
                  <a:pt x="107" y="578"/>
                  <a:pt x="98" y="591"/>
                  <a:pt x="99" y="610"/>
                </a:cubicBezTo>
                <a:cubicBezTo>
                  <a:pt x="100" y="629"/>
                  <a:pt x="98" y="648"/>
                  <a:pt x="95" y="677"/>
                </a:cubicBezTo>
                <a:cubicBezTo>
                  <a:pt x="93" y="705"/>
                  <a:pt x="76" y="759"/>
                  <a:pt x="85" y="763"/>
                </a:cubicBezTo>
                <a:cubicBezTo>
                  <a:pt x="93" y="768"/>
                  <a:pt x="96" y="767"/>
                  <a:pt x="96" y="780"/>
                </a:cubicBezTo>
                <a:cubicBezTo>
                  <a:pt x="96" y="793"/>
                  <a:pt x="90" y="876"/>
                  <a:pt x="69" y="975"/>
                </a:cubicBezTo>
                <a:cubicBezTo>
                  <a:pt x="48" y="1075"/>
                  <a:pt x="16" y="1296"/>
                  <a:pt x="9" y="1338"/>
                </a:cubicBezTo>
                <a:cubicBezTo>
                  <a:pt x="2" y="1379"/>
                  <a:pt x="8" y="1383"/>
                  <a:pt x="8" y="1383"/>
                </a:cubicBezTo>
                <a:cubicBezTo>
                  <a:pt x="8" y="1383"/>
                  <a:pt x="8" y="1386"/>
                  <a:pt x="4" y="1398"/>
                </a:cubicBezTo>
                <a:cubicBezTo>
                  <a:pt x="0" y="1410"/>
                  <a:pt x="4" y="1418"/>
                  <a:pt x="11" y="1423"/>
                </a:cubicBezTo>
                <a:cubicBezTo>
                  <a:pt x="18" y="1428"/>
                  <a:pt x="19" y="1438"/>
                  <a:pt x="34" y="1449"/>
                </a:cubicBezTo>
                <a:cubicBezTo>
                  <a:pt x="48" y="1460"/>
                  <a:pt x="90" y="1470"/>
                  <a:pt x="108" y="1468"/>
                </a:cubicBezTo>
                <a:cubicBezTo>
                  <a:pt x="126" y="1466"/>
                  <a:pt x="121" y="1460"/>
                  <a:pt x="120" y="1442"/>
                </a:cubicBezTo>
                <a:cubicBezTo>
                  <a:pt x="119" y="1424"/>
                  <a:pt x="96" y="1398"/>
                  <a:pt x="96" y="1398"/>
                </a:cubicBezTo>
                <a:cubicBezTo>
                  <a:pt x="96" y="1398"/>
                  <a:pt x="95" y="1393"/>
                  <a:pt x="101" y="1390"/>
                </a:cubicBezTo>
                <a:cubicBezTo>
                  <a:pt x="107" y="1386"/>
                  <a:pt x="132" y="1306"/>
                  <a:pt x="153" y="1231"/>
                </a:cubicBezTo>
                <a:cubicBezTo>
                  <a:pt x="175" y="1157"/>
                  <a:pt x="214" y="1022"/>
                  <a:pt x="214" y="1022"/>
                </a:cubicBezTo>
                <a:cubicBezTo>
                  <a:pt x="214" y="1022"/>
                  <a:pt x="217" y="1061"/>
                  <a:pt x="220" y="1100"/>
                </a:cubicBezTo>
                <a:cubicBezTo>
                  <a:pt x="222" y="1139"/>
                  <a:pt x="224" y="1267"/>
                  <a:pt x="220" y="1300"/>
                </a:cubicBezTo>
                <a:cubicBezTo>
                  <a:pt x="215" y="1333"/>
                  <a:pt x="215" y="1363"/>
                  <a:pt x="215" y="1363"/>
                </a:cubicBezTo>
                <a:cubicBezTo>
                  <a:pt x="215" y="1363"/>
                  <a:pt x="215" y="1367"/>
                  <a:pt x="215" y="1378"/>
                </a:cubicBezTo>
                <a:cubicBezTo>
                  <a:pt x="215" y="1389"/>
                  <a:pt x="223" y="1389"/>
                  <a:pt x="242" y="1391"/>
                </a:cubicBezTo>
                <a:cubicBezTo>
                  <a:pt x="261" y="1393"/>
                  <a:pt x="287" y="1392"/>
                  <a:pt x="287" y="1392"/>
                </a:cubicBezTo>
                <a:cubicBezTo>
                  <a:pt x="287" y="1392"/>
                  <a:pt x="286" y="1383"/>
                  <a:pt x="297" y="1388"/>
                </a:cubicBezTo>
                <a:cubicBezTo>
                  <a:pt x="307" y="1392"/>
                  <a:pt x="329" y="1403"/>
                  <a:pt x="349" y="1403"/>
                </a:cubicBezTo>
                <a:cubicBezTo>
                  <a:pt x="369" y="1403"/>
                  <a:pt x="429" y="1412"/>
                  <a:pt x="429" y="1397"/>
                </a:cubicBezTo>
                <a:cubicBezTo>
                  <a:pt x="429" y="1382"/>
                  <a:pt x="406" y="1376"/>
                  <a:pt x="385" y="1376"/>
                </a:cubicBezTo>
                <a:cubicBezTo>
                  <a:pt x="365" y="1376"/>
                  <a:pt x="342" y="1344"/>
                  <a:pt x="342" y="1344"/>
                </a:cubicBezTo>
                <a:cubicBezTo>
                  <a:pt x="342" y="1344"/>
                  <a:pt x="342" y="1344"/>
                  <a:pt x="348" y="1340"/>
                </a:cubicBezTo>
                <a:cubicBezTo>
                  <a:pt x="353" y="1337"/>
                  <a:pt x="320" y="1312"/>
                  <a:pt x="316" y="1300"/>
                </a:cubicBezTo>
                <a:cubicBezTo>
                  <a:pt x="311" y="1288"/>
                  <a:pt x="312" y="1286"/>
                  <a:pt x="316" y="1257"/>
                </a:cubicBezTo>
                <a:cubicBezTo>
                  <a:pt x="319" y="1229"/>
                  <a:pt x="327" y="1136"/>
                  <a:pt x="337" y="1080"/>
                </a:cubicBezTo>
                <a:cubicBezTo>
                  <a:pt x="346" y="1023"/>
                  <a:pt x="358" y="968"/>
                  <a:pt x="365" y="920"/>
                </a:cubicBezTo>
                <a:cubicBezTo>
                  <a:pt x="372" y="871"/>
                  <a:pt x="376" y="792"/>
                  <a:pt x="376" y="792"/>
                </a:cubicBezTo>
                <a:cubicBezTo>
                  <a:pt x="376" y="792"/>
                  <a:pt x="380" y="791"/>
                  <a:pt x="387" y="785"/>
                </a:cubicBezTo>
                <a:cubicBezTo>
                  <a:pt x="394" y="779"/>
                  <a:pt x="392" y="764"/>
                  <a:pt x="388" y="747"/>
                </a:cubicBezTo>
                <a:cubicBezTo>
                  <a:pt x="385" y="729"/>
                  <a:pt x="380" y="656"/>
                  <a:pt x="377" y="621"/>
                </a:cubicBezTo>
                <a:cubicBezTo>
                  <a:pt x="373" y="586"/>
                  <a:pt x="359" y="534"/>
                  <a:pt x="359" y="534"/>
                </a:cubicBezTo>
                <a:cubicBezTo>
                  <a:pt x="359" y="534"/>
                  <a:pt x="370" y="529"/>
                  <a:pt x="377" y="522"/>
                </a:cubicBezTo>
                <a:cubicBezTo>
                  <a:pt x="384" y="516"/>
                  <a:pt x="385" y="500"/>
                  <a:pt x="385" y="500"/>
                </a:cubicBezTo>
                <a:cubicBezTo>
                  <a:pt x="385" y="500"/>
                  <a:pt x="428" y="504"/>
                  <a:pt x="446" y="496"/>
                </a:cubicBezTo>
                <a:cubicBezTo>
                  <a:pt x="463" y="489"/>
                  <a:pt x="460" y="450"/>
                  <a:pt x="454" y="422"/>
                </a:cubicBezTo>
                <a:close/>
                <a:moveTo>
                  <a:pt x="311" y="458"/>
                </a:moveTo>
                <a:cubicBezTo>
                  <a:pt x="311" y="458"/>
                  <a:pt x="330" y="452"/>
                  <a:pt x="330" y="437"/>
                </a:cubicBezTo>
                <a:cubicBezTo>
                  <a:pt x="330" y="421"/>
                  <a:pt x="315" y="411"/>
                  <a:pt x="308" y="410"/>
                </a:cubicBezTo>
                <a:cubicBezTo>
                  <a:pt x="301" y="410"/>
                  <a:pt x="313" y="399"/>
                  <a:pt x="327" y="411"/>
                </a:cubicBezTo>
                <a:cubicBezTo>
                  <a:pt x="342" y="423"/>
                  <a:pt x="353" y="475"/>
                  <a:pt x="353" y="475"/>
                </a:cubicBezTo>
                <a:cubicBezTo>
                  <a:pt x="353" y="475"/>
                  <a:pt x="323" y="463"/>
                  <a:pt x="311" y="458"/>
                </a:cubicBezTo>
                <a:close/>
                <a:moveTo>
                  <a:pt x="350" y="540"/>
                </a:moveTo>
                <a:cubicBezTo>
                  <a:pt x="350" y="540"/>
                  <a:pt x="352" y="500"/>
                  <a:pt x="353" y="483"/>
                </a:cubicBezTo>
                <a:cubicBezTo>
                  <a:pt x="362" y="531"/>
                  <a:pt x="362" y="531"/>
                  <a:pt x="362" y="531"/>
                </a:cubicBezTo>
                <a:lnTo>
                  <a:pt x="350" y="540"/>
                </a:lnTo>
                <a:close/>
              </a:path>
            </a:pathLst>
          </a:custGeom>
          <a:solidFill>
            <a:sysClr val="windowText" lastClr="000000">
              <a:lumMod val="65000"/>
              <a:lumOff val="35000"/>
            </a:sysClr>
          </a:solidFill>
          <a:ln>
            <a:noFill/>
          </a:ln>
          <a:effectLst>
            <a:outerShdw blurRad="76200" dir="13500000" sy="23000" kx="1200000" algn="br" rotWithShape="0">
              <a:prstClr val="black">
                <a:alpha val="6000"/>
              </a:prstClr>
            </a:outerShdw>
          </a:effectLst>
        </p:spPr>
        <p:txBody>
          <a:bodyPr vert="horz" wrap="square" lIns="138239" tIns="69119" rIns="138239" bIns="6911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82104" fontAlgn="auto">
              <a:spcBef>
                <a:spcPts val="0"/>
              </a:spcBef>
              <a:spcAft>
                <a:spcPts val="0"/>
              </a:spcAft>
              <a:defRPr/>
            </a:pPr>
            <a:endParaRPr lang="id-ID" sz="2700" b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06037" y="4968146"/>
            <a:ext cx="531423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PT Serif"/>
              </a:rPr>
              <a:t>Предварительная техническая проработка идей</a:t>
            </a:r>
            <a:endParaRPr lang="ru-RU" sz="2000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506037" y="2326104"/>
            <a:ext cx="353577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PT Serif"/>
              </a:rPr>
              <a:t>Информационная кампания</a:t>
            </a:r>
            <a:endParaRPr lang="ru-RU" sz="20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506037" y="3498122"/>
            <a:ext cx="56420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PT Serif"/>
              </a:rPr>
              <a:t>Идентификация проблематики инициаторами</a:t>
            </a:r>
            <a:endParaRPr lang="ru-RU" sz="2000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506037" y="2912113"/>
            <a:ext cx="445647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PT Serif"/>
              </a:rPr>
              <a:t>Формирование инициативных групп</a:t>
            </a:r>
            <a:endParaRPr lang="ru-RU" sz="2000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496210" y="4076621"/>
            <a:ext cx="6096001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PT Serif"/>
              </a:rPr>
              <a:t>Выявление мнений об актуальности инициативного проекта для граждан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714596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38" y="271377"/>
            <a:ext cx="3011485" cy="1180501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3712104" y="205931"/>
            <a:ext cx="79032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2400" b="1" dirty="0" smtClean="0">
                <a:solidFill>
                  <a:srgbClr val="494949"/>
                </a:solidFill>
                <a:sym typeface="+mn-lt"/>
              </a:rPr>
              <a:t>ШКОЛА МЕСТНЫХ ИНИЦИАТИВ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183111" y="807741"/>
            <a:ext cx="58924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400" b="1" dirty="0">
                <a:solidFill>
                  <a:sysClr val="windowText" lastClr="000000"/>
                </a:solidFill>
                <a:ea typeface="微软雅黑" panose="020B0503020204020204" pitchFamily="34" charset="-122"/>
                <a:sym typeface="微软雅黑" panose="020B0503020204020204" pitchFamily="34" charset="-122"/>
              </a:rPr>
              <a:t>Рассмотрение инициативного проекта</a:t>
            </a:r>
            <a:r>
              <a:rPr lang="ru-RU" altLang="ru-RU" sz="2400" b="1" dirty="0" smtClean="0">
                <a:solidFill>
                  <a:sysClr val="windowText" lastClr="000000"/>
                </a:solidFill>
                <a:ea typeface="微软雅黑" panose="020B0503020204020204" pitchFamily="34" charset="-122"/>
                <a:sym typeface="微软雅黑" panose="020B0503020204020204" pitchFamily="34" charset="-122"/>
              </a:rPr>
              <a:t> </a:t>
            </a:r>
            <a:r>
              <a:rPr lang="ru-RU" altLang="ru-RU" sz="2400" b="1" dirty="0">
                <a:solidFill>
                  <a:sysClr val="windowText" lastClr="000000"/>
                </a:solidFill>
                <a:ea typeface="微软雅黑" panose="020B0503020204020204" pitchFamily="34" charset="-122"/>
                <a:sym typeface="微软雅黑" panose="020B0503020204020204" pitchFamily="34" charset="-122"/>
              </a:rPr>
              <a:t>Администрацией МО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851936" y="2783198"/>
            <a:ext cx="2353093" cy="5640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2000" b="1" dirty="0" smtClean="0">
                <a:solidFill>
                  <a:srgbClr val="2C6657"/>
                </a:solidFill>
              </a:rPr>
              <a:t>Сайт </a:t>
            </a:r>
          </a:p>
          <a:p>
            <a:pPr algn="ctr">
              <a:lnSpc>
                <a:spcPts val="1800"/>
              </a:lnSpc>
            </a:pPr>
            <a:r>
              <a:rPr lang="ru-RU" sz="2000" b="1" dirty="0" smtClean="0">
                <a:solidFill>
                  <a:srgbClr val="2C6657"/>
                </a:solidFill>
              </a:rPr>
              <a:t>администрации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775268" y="1643009"/>
            <a:ext cx="451250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2200" b="1" dirty="0" smtClean="0">
                <a:solidFill>
                  <a:srgbClr val="2C6657"/>
                </a:solidFill>
                <a:ea typeface="微软雅黑" panose="020B0503020204020204" pitchFamily="34" charset="-122"/>
                <a:sym typeface="微软雅黑" panose="020B0503020204020204" pitchFamily="34" charset="-122"/>
              </a:rPr>
              <a:t>Инициативный проект</a:t>
            </a:r>
            <a:endParaRPr lang="ru-RU" altLang="ru-RU" sz="2200" b="1" dirty="0">
              <a:solidFill>
                <a:srgbClr val="2C6657"/>
              </a:solidFill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223082" y="5122871"/>
            <a:ext cx="771787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2C6657"/>
                </a:solidFill>
              </a:rPr>
              <a:t>Рассмотрение проекта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522960" y="6212128"/>
            <a:ext cx="364433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40937D"/>
                </a:solidFill>
              </a:rPr>
              <a:t>Поддержать ИП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611250" y="6214903"/>
            <a:ext cx="38404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Отказать в поддержке ИП 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112315" y="2688336"/>
            <a:ext cx="1652632" cy="792088"/>
          </a:xfrm>
          <a:prstGeom prst="roundRect">
            <a:avLst/>
          </a:prstGeom>
          <a:noFill/>
          <a:ln>
            <a:solidFill>
              <a:srgbClr val="40937D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3063902" y="2853548"/>
            <a:ext cx="175504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2C6657"/>
                </a:solidFill>
              </a:rPr>
              <a:t>Публикация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4851470" y="2688336"/>
            <a:ext cx="2331926" cy="792088"/>
          </a:xfrm>
          <a:prstGeom prst="roundRect">
            <a:avLst/>
          </a:prstGeom>
          <a:noFill/>
          <a:ln>
            <a:solidFill>
              <a:srgbClr val="40937D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32"/>
          <p:cNvSpPr/>
          <p:nvPr/>
        </p:nvSpPr>
        <p:spPr>
          <a:xfrm>
            <a:off x="7272120" y="2824992"/>
            <a:ext cx="1662156" cy="5640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2000" b="1" dirty="0" smtClean="0">
                <a:solidFill>
                  <a:srgbClr val="2C6657"/>
                </a:solidFill>
              </a:rPr>
              <a:t>3 рабочих</a:t>
            </a:r>
          </a:p>
          <a:p>
            <a:pPr algn="ctr">
              <a:lnSpc>
                <a:spcPts val="1800"/>
              </a:lnSpc>
            </a:pPr>
            <a:r>
              <a:rPr lang="ru-RU" sz="2000" b="1" dirty="0" smtClean="0">
                <a:solidFill>
                  <a:srgbClr val="2C6657"/>
                </a:solidFill>
              </a:rPr>
              <a:t> дня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4857226" y="4018632"/>
            <a:ext cx="2364823" cy="5640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2000" b="1" dirty="0" smtClean="0">
                <a:solidFill>
                  <a:srgbClr val="2C6657"/>
                </a:solidFill>
              </a:rPr>
              <a:t>Жители </a:t>
            </a:r>
          </a:p>
          <a:p>
            <a:pPr algn="ctr">
              <a:lnSpc>
                <a:spcPts val="1800"/>
              </a:lnSpc>
            </a:pPr>
            <a:r>
              <a:rPr lang="ru-RU" sz="2000" b="1" dirty="0" smtClean="0">
                <a:solidFill>
                  <a:srgbClr val="2C6657"/>
                </a:solidFill>
              </a:rPr>
              <a:t>старше 16 лет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2759978" y="3898602"/>
            <a:ext cx="2014427" cy="792088"/>
          </a:xfrm>
          <a:prstGeom prst="roundRect">
            <a:avLst/>
          </a:prstGeom>
          <a:noFill/>
          <a:ln>
            <a:solidFill>
              <a:srgbClr val="40937D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/>
        </p:nvSpPr>
        <p:spPr>
          <a:xfrm>
            <a:off x="2708121" y="4016181"/>
            <a:ext cx="210582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2000" b="1" dirty="0" smtClean="0">
                <a:solidFill>
                  <a:srgbClr val="2C6657"/>
                </a:solidFill>
              </a:rPr>
              <a:t>Замечания + предложения</a:t>
            </a: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848837" y="3898602"/>
            <a:ext cx="2340528" cy="792088"/>
          </a:xfrm>
          <a:prstGeom prst="roundRect">
            <a:avLst/>
          </a:prstGeom>
          <a:noFill/>
          <a:ln>
            <a:solidFill>
              <a:srgbClr val="40937D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7273255" y="4027021"/>
            <a:ext cx="2038525" cy="5640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2000" b="1" dirty="0" smtClean="0">
                <a:solidFill>
                  <a:srgbClr val="2C6657"/>
                </a:solidFill>
              </a:rPr>
              <a:t>5 рабочих</a:t>
            </a:r>
          </a:p>
          <a:p>
            <a:pPr algn="ctr">
              <a:lnSpc>
                <a:spcPts val="1800"/>
              </a:lnSpc>
            </a:pPr>
            <a:r>
              <a:rPr lang="ru-RU" sz="2000" b="1" dirty="0" smtClean="0">
                <a:solidFill>
                  <a:srgbClr val="2C6657"/>
                </a:solidFill>
              </a:rPr>
              <a:t> дней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2197916" y="5117659"/>
            <a:ext cx="7734649" cy="433320"/>
          </a:xfrm>
          <a:prstGeom prst="roundRect">
            <a:avLst/>
          </a:prstGeom>
          <a:noFill/>
          <a:ln>
            <a:solidFill>
              <a:srgbClr val="40937D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ик 39"/>
          <p:cNvSpPr/>
          <p:nvPr/>
        </p:nvSpPr>
        <p:spPr>
          <a:xfrm>
            <a:off x="10886814" y="3833484"/>
            <a:ext cx="1137605" cy="5640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ru-RU" sz="2000" b="1" dirty="0" smtClean="0">
                <a:solidFill>
                  <a:srgbClr val="2C6657"/>
                </a:solidFill>
              </a:rPr>
              <a:t>30 </a:t>
            </a:r>
          </a:p>
          <a:p>
            <a:pPr>
              <a:lnSpc>
                <a:spcPts val="1800"/>
              </a:lnSpc>
            </a:pPr>
            <a:r>
              <a:rPr lang="ru-RU" sz="2000" b="1" dirty="0" smtClean="0">
                <a:solidFill>
                  <a:srgbClr val="2C6657"/>
                </a:solidFill>
              </a:rPr>
              <a:t>дней</a:t>
            </a:r>
          </a:p>
        </p:txBody>
      </p:sp>
      <p:cxnSp>
        <p:nvCxnSpPr>
          <p:cNvPr id="41" name="直接连接符 111"/>
          <p:cNvCxnSpPr/>
          <p:nvPr/>
        </p:nvCxnSpPr>
        <p:spPr>
          <a:xfrm flipH="1" flipV="1">
            <a:off x="6005757" y="2071875"/>
            <a:ext cx="11425" cy="504381"/>
          </a:xfrm>
          <a:prstGeom prst="line">
            <a:avLst/>
          </a:prstGeom>
          <a:ln>
            <a:solidFill>
              <a:schemeClr val="tx1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авая фигурная скобка 41"/>
          <p:cNvSpPr/>
          <p:nvPr/>
        </p:nvSpPr>
        <p:spPr>
          <a:xfrm>
            <a:off x="10378465" y="2623356"/>
            <a:ext cx="261911" cy="2954411"/>
          </a:xfrm>
          <a:prstGeom prst="rightBrace">
            <a:avLst>
              <a:gd name="adj1" fmla="val 60599"/>
              <a:gd name="adj2" fmla="val 49603"/>
            </a:avLst>
          </a:prstGeom>
          <a:noFill/>
          <a:ln w="57150">
            <a:solidFill>
              <a:srgbClr val="4093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3" name="直接连接符 111"/>
          <p:cNvCxnSpPr/>
          <p:nvPr/>
        </p:nvCxnSpPr>
        <p:spPr>
          <a:xfrm flipV="1">
            <a:off x="6008945" y="3522642"/>
            <a:ext cx="4676" cy="314911"/>
          </a:xfrm>
          <a:prstGeom prst="line">
            <a:avLst/>
          </a:prstGeom>
          <a:ln>
            <a:solidFill>
              <a:schemeClr val="tx1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111"/>
          <p:cNvCxnSpPr/>
          <p:nvPr/>
        </p:nvCxnSpPr>
        <p:spPr>
          <a:xfrm flipV="1">
            <a:off x="6050134" y="4758318"/>
            <a:ext cx="4676" cy="314911"/>
          </a:xfrm>
          <a:prstGeom prst="line">
            <a:avLst/>
          </a:prstGeom>
          <a:ln>
            <a:solidFill>
              <a:schemeClr val="tx1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接连接符 111"/>
          <p:cNvCxnSpPr/>
          <p:nvPr/>
        </p:nvCxnSpPr>
        <p:spPr>
          <a:xfrm flipV="1">
            <a:off x="7009114" y="5622839"/>
            <a:ext cx="0" cy="426854"/>
          </a:xfrm>
          <a:prstGeom prst="line">
            <a:avLst/>
          </a:prstGeom>
          <a:ln>
            <a:solidFill>
              <a:schemeClr val="tx1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Скругленный прямоугольник 47"/>
          <p:cNvSpPr/>
          <p:nvPr/>
        </p:nvSpPr>
        <p:spPr>
          <a:xfrm>
            <a:off x="7290033" y="3890213"/>
            <a:ext cx="2014427" cy="792088"/>
          </a:xfrm>
          <a:prstGeom prst="roundRect">
            <a:avLst/>
          </a:prstGeom>
          <a:noFill/>
          <a:ln>
            <a:solidFill>
              <a:srgbClr val="40937D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7281644" y="2671558"/>
            <a:ext cx="1652632" cy="792088"/>
          </a:xfrm>
          <a:prstGeom prst="roundRect">
            <a:avLst/>
          </a:prstGeom>
          <a:noFill/>
          <a:ln>
            <a:solidFill>
              <a:srgbClr val="40937D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0" name="Группа 49"/>
          <p:cNvGrpSpPr/>
          <p:nvPr/>
        </p:nvGrpSpPr>
        <p:grpSpPr>
          <a:xfrm>
            <a:off x="6737053" y="6146767"/>
            <a:ext cx="576487" cy="563050"/>
            <a:chOff x="5288854" y="961852"/>
            <a:chExt cx="678517" cy="680356"/>
          </a:xfrm>
        </p:grpSpPr>
        <p:sp>
          <p:nvSpPr>
            <p:cNvPr id="51" name="Oval 10"/>
            <p:cNvSpPr>
              <a:spLocks noChangeArrowheads="1"/>
            </p:cNvSpPr>
            <p:nvPr/>
          </p:nvSpPr>
          <p:spPr bwMode="auto">
            <a:xfrm>
              <a:off x="5288854" y="961852"/>
              <a:ext cx="678517" cy="680356"/>
            </a:xfrm>
            <a:prstGeom prst="ellipse">
              <a:avLst/>
            </a:prstGeom>
            <a:solidFill>
              <a:srgbClr val="40937D"/>
            </a:solidFill>
            <a:ln>
              <a:noFill/>
            </a:ln>
          </p:spPr>
          <p:txBody>
            <a:bodyPr/>
            <a:lstStyle>
              <a:lvl1pPr eaLnBrk="0" hangingPunct="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endParaRPr lang="zh-CN" altLang="en-US" sz="1799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pic>
          <p:nvPicPr>
            <p:cNvPr id="52" name="Picture 8" descr="https://static.tildacdn.com/tild6665-6135-4831-b631-653561383865/check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370126" y="1018349"/>
              <a:ext cx="561117" cy="524916"/>
            </a:xfrm>
            <a:prstGeom prst="rect">
              <a:avLst/>
            </a:prstGeom>
            <a:noFill/>
          </p:spPr>
        </p:pic>
      </p:grpSp>
      <p:cxnSp>
        <p:nvCxnSpPr>
          <p:cNvPr id="53" name="直接连接符 111"/>
          <p:cNvCxnSpPr/>
          <p:nvPr/>
        </p:nvCxnSpPr>
        <p:spPr>
          <a:xfrm flipV="1">
            <a:off x="5440373" y="5631228"/>
            <a:ext cx="0" cy="426854"/>
          </a:xfrm>
          <a:prstGeom prst="line">
            <a:avLst/>
          </a:prstGeom>
          <a:ln>
            <a:solidFill>
              <a:schemeClr val="tx1"/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Picture 4" descr="https://static.tildacdn.com/tild6361-3438-4133-a165-316339613062/208-2083729_oxygen48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23282" y="6104269"/>
            <a:ext cx="614742" cy="60815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21191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38" y="271377"/>
            <a:ext cx="3011485" cy="1180501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3712104" y="205931"/>
            <a:ext cx="79032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2400" b="1" dirty="0" smtClean="0">
                <a:solidFill>
                  <a:srgbClr val="494949"/>
                </a:solidFill>
                <a:sym typeface="+mn-lt"/>
              </a:rPr>
              <a:t>ШКОЛА МЕСТНЫХ ИНИЦИАТИВ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795682" y="807741"/>
            <a:ext cx="62798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400" b="1" dirty="0">
                <a:solidFill>
                  <a:sysClr val="windowText" lastClr="000000"/>
                </a:solidFill>
                <a:ea typeface="微软雅黑" panose="020B0503020204020204" pitchFamily="34" charset="-122"/>
                <a:sym typeface="微软雅黑" panose="020B0503020204020204" pitchFamily="34" charset="-122"/>
              </a:rPr>
              <a:t>Конкурсный </a:t>
            </a:r>
            <a:r>
              <a:rPr lang="ru-RU" altLang="ru-RU" sz="2400" b="1" dirty="0" smtClean="0">
                <a:solidFill>
                  <a:sysClr val="windowText" lastClr="000000"/>
                </a:solidFill>
                <a:ea typeface="微软雅黑" panose="020B0503020204020204" pitchFamily="34" charset="-122"/>
                <a:sym typeface="微软雅黑" panose="020B0503020204020204" pitchFamily="34" charset="-122"/>
              </a:rPr>
              <a:t>отбор  инициативных проектов</a:t>
            </a:r>
            <a:endParaRPr lang="ru-RU" altLang="ru-RU" sz="2400" b="1" dirty="0">
              <a:solidFill>
                <a:sysClr val="windowText" lastClr="000000"/>
              </a:solidFill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cxnSp>
        <p:nvCxnSpPr>
          <p:cNvPr id="55" name="直接连接符 107"/>
          <p:cNvCxnSpPr/>
          <p:nvPr/>
        </p:nvCxnSpPr>
        <p:spPr>
          <a:xfrm>
            <a:off x="1391120" y="3482732"/>
            <a:ext cx="481041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接连接符 111"/>
          <p:cNvCxnSpPr/>
          <p:nvPr/>
        </p:nvCxnSpPr>
        <p:spPr>
          <a:xfrm>
            <a:off x="4128619" y="5193879"/>
            <a:ext cx="397780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连接符 115"/>
          <p:cNvCxnSpPr/>
          <p:nvPr/>
        </p:nvCxnSpPr>
        <p:spPr>
          <a:xfrm>
            <a:off x="7303084" y="6755560"/>
            <a:ext cx="397780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Прямоугольник 57"/>
          <p:cNvSpPr/>
          <p:nvPr/>
        </p:nvSpPr>
        <p:spPr>
          <a:xfrm>
            <a:off x="1378860" y="1694497"/>
            <a:ext cx="5059683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200" b="1" dirty="0">
                <a:ea typeface="宋体" panose="02010600030101010101" pitchFamily="2" charset="-122"/>
                <a:cs typeface="Calibri" panose="020F0502020204030204" pitchFamily="34" charset="0"/>
              </a:rPr>
              <a:t>Администрация МО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b="1" dirty="0">
                <a:ea typeface="宋体" panose="02010600030101010101" pitchFamily="2" charset="-122"/>
                <a:cs typeface="Calibri" panose="020F0502020204030204" pitchFamily="34" charset="0"/>
              </a:rPr>
              <a:t>Организует проведение отбора ИП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b="1" dirty="0">
                <a:ea typeface="宋体" panose="02010600030101010101" pitchFamily="2" charset="-122"/>
                <a:cs typeface="Calibri" panose="020F0502020204030204" pitchFamily="34" charset="0"/>
              </a:rPr>
              <a:t>Информирует инициаторов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b="1" dirty="0">
                <a:ea typeface="宋体" panose="02010600030101010101" pitchFamily="2" charset="-122"/>
                <a:cs typeface="Calibri" panose="020F0502020204030204" pitchFamily="34" charset="0"/>
              </a:rPr>
              <a:t>Формирует состав комиссии </a:t>
            </a:r>
          </a:p>
          <a:p>
            <a:r>
              <a:rPr lang="ru-RU" sz="1600" b="1" dirty="0">
                <a:ea typeface="宋体" panose="02010600030101010101" pitchFamily="2" charset="-122"/>
                <a:cs typeface="Calibri" panose="020F0502020204030204" pitchFamily="34" charset="0"/>
              </a:rPr>
              <a:t>(50% членов комиссии назначается на основе предложений представительного органа МО)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4186386" y="3853753"/>
            <a:ext cx="4509203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200" b="1" dirty="0">
                <a:ea typeface="宋体" panose="02010600030101010101" pitchFamily="2" charset="-122"/>
                <a:cs typeface="Calibri" panose="020F0502020204030204" pitchFamily="34" charset="0"/>
              </a:rPr>
              <a:t>Представительный орган МО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b="1" dirty="0">
                <a:ea typeface="宋体" panose="02010600030101010101" pitchFamily="2" charset="-122"/>
                <a:cs typeface="Calibri" panose="020F0502020204030204" pitchFamily="34" charset="0"/>
              </a:rPr>
              <a:t>Определяет порядок формирования и деятельность комиссии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b="1" dirty="0">
                <a:ea typeface="宋体" panose="02010600030101010101" pitchFamily="2" charset="-122"/>
                <a:cs typeface="Calibri" panose="020F0502020204030204" pitchFamily="34" charset="0"/>
              </a:rPr>
              <a:t>Дает предложения о составе комиссии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7344446" y="5454151"/>
            <a:ext cx="4534447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200" b="1" dirty="0">
                <a:ea typeface="宋体" panose="02010600030101010101" pitchFamily="2" charset="-122"/>
                <a:cs typeface="Calibri" panose="020F0502020204030204" pitchFamily="34" charset="0"/>
              </a:rPr>
              <a:t>Инициаторы ИП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b="1" dirty="0">
                <a:ea typeface="宋体" panose="02010600030101010101" pitchFamily="2" charset="-122"/>
                <a:cs typeface="Calibri" panose="020F0502020204030204" pitchFamily="34" charset="0"/>
              </a:rPr>
              <a:t>Участвуют в рассмотрении ИП комиссией 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b="1" dirty="0">
                <a:ea typeface="宋体" panose="02010600030101010101" pitchFamily="2" charset="-122"/>
                <a:cs typeface="Calibri" panose="020F0502020204030204" pitchFamily="34" charset="0"/>
              </a:rPr>
              <a:t>Излагают свои позиции по ИП</a:t>
            </a:r>
          </a:p>
        </p:txBody>
      </p:sp>
      <p:sp>
        <p:nvSpPr>
          <p:cNvPr id="61" name="Freeform 48"/>
          <p:cNvSpPr>
            <a:spLocks noEditPoints="1"/>
          </p:cNvSpPr>
          <p:nvPr/>
        </p:nvSpPr>
        <p:spPr bwMode="auto">
          <a:xfrm>
            <a:off x="923075" y="1480997"/>
            <a:ext cx="441213" cy="645586"/>
          </a:xfrm>
          <a:custGeom>
            <a:avLst/>
            <a:gdLst/>
            <a:ahLst/>
            <a:cxnLst>
              <a:cxn ang="0">
                <a:pos x="76" y="31"/>
              </a:cxn>
              <a:cxn ang="0">
                <a:pos x="80" y="27"/>
              </a:cxn>
              <a:cxn ang="0">
                <a:pos x="76" y="23"/>
              </a:cxn>
              <a:cxn ang="0">
                <a:pos x="23" y="76"/>
              </a:cxn>
              <a:cxn ang="0">
                <a:pos x="27" y="80"/>
              </a:cxn>
              <a:cxn ang="0">
                <a:pos x="31" y="76"/>
              </a:cxn>
              <a:cxn ang="0">
                <a:pos x="76" y="31"/>
              </a:cxn>
              <a:cxn ang="0">
                <a:pos x="44" y="192"/>
              </a:cxn>
              <a:cxn ang="0">
                <a:pos x="45" y="203"/>
              </a:cxn>
              <a:cxn ang="0">
                <a:pos x="56" y="209"/>
              </a:cxn>
              <a:cxn ang="0">
                <a:pos x="57" y="216"/>
              </a:cxn>
              <a:cxn ang="0">
                <a:pos x="76" y="221"/>
              </a:cxn>
              <a:cxn ang="0">
                <a:pos x="95" y="216"/>
              </a:cxn>
              <a:cxn ang="0">
                <a:pos x="96" y="209"/>
              </a:cxn>
              <a:cxn ang="0">
                <a:pos x="106" y="203"/>
              </a:cxn>
              <a:cxn ang="0">
                <a:pos x="108" y="192"/>
              </a:cxn>
              <a:cxn ang="0">
                <a:pos x="76" y="197"/>
              </a:cxn>
              <a:cxn ang="0">
                <a:pos x="44" y="192"/>
              </a:cxn>
              <a:cxn ang="0">
                <a:pos x="41" y="170"/>
              </a:cxn>
              <a:cxn ang="0">
                <a:pos x="42" y="182"/>
              </a:cxn>
              <a:cxn ang="0">
                <a:pos x="76" y="188"/>
              </a:cxn>
              <a:cxn ang="0">
                <a:pos x="109" y="182"/>
              </a:cxn>
              <a:cxn ang="0">
                <a:pos x="111" y="170"/>
              </a:cxn>
              <a:cxn ang="0">
                <a:pos x="76" y="177"/>
              </a:cxn>
              <a:cxn ang="0">
                <a:pos x="41" y="170"/>
              </a:cxn>
              <a:cxn ang="0">
                <a:pos x="76" y="0"/>
              </a:cxn>
              <a:cxn ang="0">
                <a:pos x="0" y="76"/>
              </a:cxn>
              <a:cxn ang="0">
                <a:pos x="36" y="141"/>
              </a:cxn>
              <a:cxn ang="0">
                <a:pos x="39" y="160"/>
              </a:cxn>
              <a:cxn ang="0">
                <a:pos x="76" y="168"/>
              </a:cxn>
              <a:cxn ang="0">
                <a:pos x="113" y="160"/>
              </a:cxn>
              <a:cxn ang="0">
                <a:pos x="115" y="141"/>
              </a:cxn>
              <a:cxn ang="0">
                <a:pos x="152" y="76"/>
              </a:cxn>
              <a:cxn ang="0">
                <a:pos x="76" y="0"/>
              </a:cxn>
              <a:cxn ang="0">
                <a:pos x="104" y="132"/>
              </a:cxn>
              <a:cxn ang="0">
                <a:pos x="102" y="150"/>
              </a:cxn>
              <a:cxn ang="0">
                <a:pos x="76" y="154"/>
              </a:cxn>
              <a:cxn ang="0">
                <a:pos x="50" y="150"/>
              </a:cxn>
              <a:cxn ang="0">
                <a:pos x="48" y="132"/>
              </a:cxn>
              <a:cxn ang="0">
                <a:pos x="13" y="76"/>
              </a:cxn>
              <a:cxn ang="0">
                <a:pos x="76" y="14"/>
              </a:cxn>
              <a:cxn ang="0">
                <a:pos x="139" y="76"/>
              </a:cxn>
              <a:cxn ang="0">
                <a:pos x="104" y="132"/>
              </a:cxn>
              <a:cxn ang="0">
                <a:pos x="93" y="104"/>
              </a:cxn>
              <a:cxn ang="0">
                <a:pos x="76" y="74"/>
              </a:cxn>
              <a:cxn ang="0">
                <a:pos x="59" y="104"/>
              </a:cxn>
              <a:cxn ang="0">
                <a:pos x="52" y="89"/>
              </a:cxn>
              <a:cxn ang="0">
                <a:pos x="41" y="94"/>
              </a:cxn>
              <a:cxn ang="0">
                <a:pos x="58" y="131"/>
              </a:cxn>
              <a:cxn ang="0">
                <a:pos x="76" y="98"/>
              </a:cxn>
              <a:cxn ang="0">
                <a:pos x="94" y="131"/>
              </a:cxn>
              <a:cxn ang="0">
                <a:pos x="111" y="94"/>
              </a:cxn>
              <a:cxn ang="0">
                <a:pos x="100" y="89"/>
              </a:cxn>
              <a:cxn ang="0">
                <a:pos x="93" y="104"/>
              </a:cxn>
            </a:cxnLst>
            <a:rect l="0" t="0" r="r" b="b"/>
            <a:pathLst>
              <a:path w="152" h="221">
                <a:moveTo>
                  <a:pt x="76" y="31"/>
                </a:moveTo>
                <a:cubicBezTo>
                  <a:pt x="78" y="31"/>
                  <a:pt x="80" y="30"/>
                  <a:pt x="80" y="27"/>
                </a:cubicBezTo>
                <a:cubicBezTo>
                  <a:pt x="80" y="25"/>
                  <a:pt x="78" y="23"/>
                  <a:pt x="76" y="23"/>
                </a:cubicBezTo>
                <a:cubicBezTo>
                  <a:pt x="47" y="23"/>
                  <a:pt x="23" y="47"/>
                  <a:pt x="23" y="76"/>
                </a:cubicBezTo>
                <a:cubicBezTo>
                  <a:pt x="23" y="78"/>
                  <a:pt x="25" y="80"/>
                  <a:pt x="27" y="80"/>
                </a:cubicBezTo>
                <a:cubicBezTo>
                  <a:pt x="29" y="80"/>
                  <a:pt x="31" y="78"/>
                  <a:pt x="31" y="76"/>
                </a:cubicBezTo>
                <a:cubicBezTo>
                  <a:pt x="31" y="52"/>
                  <a:pt x="51" y="31"/>
                  <a:pt x="76" y="31"/>
                </a:cubicBezTo>
                <a:close/>
                <a:moveTo>
                  <a:pt x="44" y="192"/>
                </a:moveTo>
                <a:cubicBezTo>
                  <a:pt x="45" y="203"/>
                  <a:pt x="45" y="203"/>
                  <a:pt x="45" y="203"/>
                </a:cubicBezTo>
                <a:cubicBezTo>
                  <a:pt x="45" y="203"/>
                  <a:pt x="48" y="207"/>
                  <a:pt x="56" y="209"/>
                </a:cubicBezTo>
                <a:cubicBezTo>
                  <a:pt x="57" y="216"/>
                  <a:pt x="57" y="216"/>
                  <a:pt x="57" y="216"/>
                </a:cubicBezTo>
                <a:cubicBezTo>
                  <a:pt x="57" y="216"/>
                  <a:pt x="61" y="221"/>
                  <a:pt x="76" y="221"/>
                </a:cubicBezTo>
                <a:cubicBezTo>
                  <a:pt x="91" y="221"/>
                  <a:pt x="95" y="216"/>
                  <a:pt x="95" y="216"/>
                </a:cubicBezTo>
                <a:cubicBezTo>
                  <a:pt x="96" y="209"/>
                  <a:pt x="96" y="209"/>
                  <a:pt x="96" y="209"/>
                </a:cubicBezTo>
                <a:cubicBezTo>
                  <a:pt x="104" y="207"/>
                  <a:pt x="106" y="203"/>
                  <a:pt x="106" y="203"/>
                </a:cubicBezTo>
                <a:cubicBezTo>
                  <a:pt x="108" y="192"/>
                  <a:pt x="108" y="192"/>
                  <a:pt x="108" y="192"/>
                </a:cubicBezTo>
                <a:cubicBezTo>
                  <a:pt x="98" y="195"/>
                  <a:pt x="87" y="197"/>
                  <a:pt x="76" y="197"/>
                </a:cubicBezTo>
                <a:cubicBezTo>
                  <a:pt x="64" y="197"/>
                  <a:pt x="54" y="195"/>
                  <a:pt x="44" y="192"/>
                </a:cubicBezTo>
                <a:close/>
                <a:moveTo>
                  <a:pt x="41" y="170"/>
                </a:moveTo>
                <a:cubicBezTo>
                  <a:pt x="42" y="182"/>
                  <a:pt x="42" y="182"/>
                  <a:pt x="42" y="182"/>
                </a:cubicBezTo>
                <a:cubicBezTo>
                  <a:pt x="52" y="186"/>
                  <a:pt x="64" y="188"/>
                  <a:pt x="76" y="188"/>
                </a:cubicBezTo>
                <a:cubicBezTo>
                  <a:pt x="88" y="188"/>
                  <a:pt x="99" y="186"/>
                  <a:pt x="109" y="182"/>
                </a:cubicBezTo>
                <a:cubicBezTo>
                  <a:pt x="111" y="170"/>
                  <a:pt x="111" y="170"/>
                  <a:pt x="111" y="170"/>
                </a:cubicBezTo>
                <a:cubicBezTo>
                  <a:pt x="100" y="174"/>
                  <a:pt x="89" y="177"/>
                  <a:pt x="76" y="177"/>
                </a:cubicBezTo>
                <a:cubicBezTo>
                  <a:pt x="63" y="177"/>
                  <a:pt x="51" y="174"/>
                  <a:pt x="41" y="170"/>
                </a:cubicBezTo>
                <a:close/>
                <a:moveTo>
                  <a:pt x="76" y="0"/>
                </a:moveTo>
                <a:cubicBezTo>
                  <a:pt x="34" y="0"/>
                  <a:pt x="0" y="34"/>
                  <a:pt x="0" y="76"/>
                </a:cubicBezTo>
                <a:cubicBezTo>
                  <a:pt x="0" y="104"/>
                  <a:pt x="15" y="128"/>
                  <a:pt x="36" y="141"/>
                </a:cubicBezTo>
                <a:cubicBezTo>
                  <a:pt x="39" y="160"/>
                  <a:pt x="39" y="160"/>
                  <a:pt x="39" y="160"/>
                </a:cubicBezTo>
                <a:cubicBezTo>
                  <a:pt x="50" y="165"/>
                  <a:pt x="63" y="168"/>
                  <a:pt x="76" y="168"/>
                </a:cubicBezTo>
                <a:cubicBezTo>
                  <a:pt x="89" y="168"/>
                  <a:pt x="102" y="165"/>
                  <a:pt x="113" y="160"/>
                </a:cubicBezTo>
                <a:cubicBezTo>
                  <a:pt x="115" y="141"/>
                  <a:pt x="115" y="141"/>
                  <a:pt x="115" y="141"/>
                </a:cubicBezTo>
                <a:cubicBezTo>
                  <a:pt x="137" y="128"/>
                  <a:pt x="152" y="104"/>
                  <a:pt x="152" y="76"/>
                </a:cubicBezTo>
                <a:cubicBezTo>
                  <a:pt x="152" y="34"/>
                  <a:pt x="118" y="0"/>
                  <a:pt x="76" y="0"/>
                </a:cubicBezTo>
                <a:close/>
                <a:moveTo>
                  <a:pt x="104" y="132"/>
                </a:moveTo>
                <a:cubicBezTo>
                  <a:pt x="102" y="150"/>
                  <a:pt x="102" y="150"/>
                  <a:pt x="102" y="150"/>
                </a:cubicBezTo>
                <a:cubicBezTo>
                  <a:pt x="102" y="150"/>
                  <a:pt x="95" y="154"/>
                  <a:pt x="76" y="154"/>
                </a:cubicBezTo>
                <a:cubicBezTo>
                  <a:pt x="57" y="154"/>
                  <a:pt x="50" y="150"/>
                  <a:pt x="50" y="150"/>
                </a:cubicBezTo>
                <a:cubicBezTo>
                  <a:pt x="48" y="132"/>
                  <a:pt x="48" y="132"/>
                  <a:pt x="48" y="132"/>
                </a:cubicBezTo>
                <a:cubicBezTo>
                  <a:pt x="27" y="122"/>
                  <a:pt x="13" y="101"/>
                  <a:pt x="13" y="76"/>
                </a:cubicBezTo>
                <a:cubicBezTo>
                  <a:pt x="13" y="42"/>
                  <a:pt x="41" y="14"/>
                  <a:pt x="76" y="14"/>
                </a:cubicBezTo>
                <a:cubicBezTo>
                  <a:pt x="110" y="14"/>
                  <a:pt x="139" y="42"/>
                  <a:pt x="139" y="76"/>
                </a:cubicBezTo>
                <a:cubicBezTo>
                  <a:pt x="139" y="101"/>
                  <a:pt x="124" y="122"/>
                  <a:pt x="104" y="132"/>
                </a:cubicBezTo>
                <a:close/>
                <a:moveTo>
                  <a:pt x="93" y="104"/>
                </a:moveTo>
                <a:cubicBezTo>
                  <a:pt x="76" y="74"/>
                  <a:pt x="76" y="74"/>
                  <a:pt x="76" y="74"/>
                </a:cubicBezTo>
                <a:cubicBezTo>
                  <a:pt x="59" y="104"/>
                  <a:pt x="59" y="104"/>
                  <a:pt x="59" y="104"/>
                </a:cubicBezTo>
                <a:cubicBezTo>
                  <a:pt x="52" y="89"/>
                  <a:pt x="52" y="89"/>
                  <a:pt x="52" y="89"/>
                </a:cubicBezTo>
                <a:cubicBezTo>
                  <a:pt x="41" y="94"/>
                  <a:pt x="41" y="94"/>
                  <a:pt x="41" y="94"/>
                </a:cubicBezTo>
                <a:cubicBezTo>
                  <a:pt x="58" y="131"/>
                  <a:pt x="58" y="131"/>
                  <a:pt x="58" y="131"/>
                </a:cubicBezTo>
                <a:cubicBezTo>
                  <a:pt x="76" y="98"/>
                  <a:pt x="76" y="98"/>
                  <a:pt x="76" y="98"/>
                </a:cubicBezTo>
                <a:cubicBezTo>
                  <a:pt x="94" y="131"/>
                  <a:pt x="94" y="131"/>
                  <a:pt x="94" y="131"/>
                </a:cubicBezTo>
                <a:cubicBezTo>
                  <a:pt x="111" y="94"/>
                  <a:pt x="111" y="94"/>
                  <a:pt x="111" y="94"/>
                </a:cubicBezTo>
                <a:cubicBezTo>
                  <a:pt x="100" y="89"/>
                  <a:pt x="100" y="89"/>
                  <a:pt x="100" y="89"/>
                </a:cubicBezTo>
                <a:lnTo>
                  <a:pt x="93" y="104"/>
                </a:lnTo>
                <a:close/>
              </a:path>
            </a:pathLst>
          </a:custGeom>
          <a:solidFill>
            <a:srgbClr val="40937D"/>
          </a:solidFill>
          <a:ln w="9525">
            <a:noFill/>
            <a:round/>
            <a:headEnd/>
            <a:tailEnd/>
          </a:ln>
          <a:effectLst>
            <a:outerShdw blurRad="381000" dist="101600" dir="2700000" algn="ctr" rotWithShape="0">
              <a:srgbClr val="000000">
                <a:alpha val="3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>
              <a:latin typeface="微软雅黑"/>
              <a:cs typeface="+mn-ea"/>
              <a:sym typeface="微软雅黑"/>
            </a:endParaRPr>
          </a:p>
        </p:txBody>
      </p:sp>
      <p:sp>
        <p:nvSpPr>
          <p:cNvPr id="62" name="Freeform 48"/>
          <p:cNvSpPr>
            <a:spLocks noEditPoints="1"/>
          </p:cNvSpPr>
          <p:nvPr/>
        </p:nvSpPr>
        <p:spPr bwMode="auto">
          <a:xfrm>
            <a:off x="3680078" y="3582010"/>
            <a:ext cx="441213" cy="645586"/>
          </a:xfrm>
          <a:custGeom>
            <a:avLst/>
            <a:gdLst/>
            <a:ahLst/>
            <a:cxnLst>
              <a:cxn ang="0">
                <a:pos x="76" y="31"/>
              </a:cxn>
              <a:cxn ang="0">
                <a:pos x="80" y="27"/>
              </a:cxn>
              <a:cxn ang="0">
                <a:pos x="76" y="23"/>
              </a:cxn>
              <a:cxn ang="0">
                <a:pos x="23" y="76"/>
              </a:cxn>
              <a:cxn ang="0">
                <a:pos x="27" y="80"/>
              </a:cxn>
              <a:cxn ang="0">
                <a:pos x="31" y="76"/>
              </a:cxn>
              <a:cxn ang="0">
                <a:pos x="76" y="31"/>
              </a:cxn>
              <a:cxn ang="0">
                <a:pos x="44" y="192"/>
              </a:cxn>
              <a:cxn ang="0">
                <a:pos x="45" y="203"/>
              </a:cxn>
              <a:cxn ang="0">
                <a:pos x="56" y="209"/>
              </a:cxn>
              <a:cxn ang="0">
                <a:pos x="57" y="216"/>
              </a:cxn>
              <a:cxn ang="0">
                <a:pos x="76" y="221"/>
              </a:cxn>
              <a:cxn ang="0">
                <a:pos x="95" y="216"/>
              </a:cxn>
              <a:cxn ang="0">
                <a:pos x="96" y="209"/>
              </a:cxn>
              <a:cxn ang="0">
                <a:pos x="106" y="203"/>
              </a:cxn>
              <a:cxn ang="0">
                <a:pos x="108" y="192"/>
              </a:cxn>
              <a:cxn ang="0">
                <a:pos x="76" y="197"/>
              </a:cxn>
              <a:cxn ang="0">
                <a:pos x="44" y="192"/>
              </a:cxn>
              <a:cxn ang="0">
                <a:pos x="41" y="170"/>
              </a:cxn>
              <a:cxn ang="0">
                <a:pos x="42" y="182"/>
              </a:cxn>
              <a:cxn ang="0">
                <a:pos x="76" y="188"/>
              </a:cxn>
              <a:cxn ang="0">
                <a:pos x="109" y="182"/>
              </a:cxn>
              <a:cxn ang="0">
                <a:pos x="111" y="170"/>
              </a:cxn>
              <a:cxn ang="0">
                <a:pos x="76" y="177"/>
              </a:cxn>
              <a:cxn ang="0">
                <a:pos x="41" y="170"/>
              </a:cxn>
              <a:cxn ang="0">
                <a:pos x="76" y="0"/>
              </a:cxn>
              <a:cxn ang="0">
                <a:pos x="0" y="76"/>
              </a:cxn>
              <a:cxn ang="0">
                <a:pos x="36" y="141"/>
              </a:cxn>
              <a:cxn ang="0">
                <a:pos x="39" y="160"/>
              </a:cxn>
              <a:cxn ang="0">
                <a:pos x="76" y="168"/>
              </a:cxn>
              <a:cxn ang="0">
                <a:pos x="113" y="160"/>
              </a:cxn>
              <a:cxn ang="0">
                <a:pos x="115" y="141"/>
              </a:cxn>
              <a:cxn ang="0">
                <a:pos x="152" y="76"/>
              </a:cxn>
              <a:cxn ang="0">
                <a:pos x="76" y="0"/>
              </a:cxn>
              <a:cxn ang="0">
                <a:pos x="104" y="132"/>
              </a:cxn>
              <a:cxn ang="0">
                <a:pos x="102" y="150"/>
              </a:cxn>
              <a:cxn ang="0">
                <a:pos x="76" y="154"/>
              </a:cxn>
              <a:cxn ang="0">
                <a:pos x="50" y="150"/>
              </a:cxn>
              <a:cxn ang="0">
                <a:pos x="48" y="132"/>
              </a:cxn>
              <a:cxn ang="0">
                <a:pos x="13" y="76"/>
              </a:cxn>
              <a:cxn ang="0">
                <a:pos x="76" y="14"/>
              </a:cxn>
              <a:cxn ang="0">
                <a:pos x="139" y="76"/>
              </a:cxn>
              <a:cxn ang="0">
                <a:pos x="104" y="132"/>
              </a:cxn>
              <a:cxn ang="0">
                <a:pos x="93" y="104"/>
              </a:cxn>
              <a:cxn ang="0">
                <a:pos x="76" y="74"/>
              </a:cxn>
              <a:cxn ang="0">
                <a:pos x="59" y="104"/>
              </a:cxn>
              <a:cxn ang="0">
                <a:pos x="52" y="89"/>
              </a:cxn>
              <a:cxn ang="0">
                <a:pos x="41" y="94"/>
              </a:cxn>
              <a:cxn ang="0">
                <a:pos x="58" y="131"/>
              </a:cxn>
              <a:cxn ang="0">
                <a:pos x="76" y="98"/>
              </a:cxn>
              <a:cxn ang="0">
                <a:pos x="94" y="131"/>
              </a:cxn>
              <a:cxn ang="0">
                <a:pos x="111" y="94"/>
              </a:cxn>
              <a:cxn ang="0">
                <a:pos x="100" y="89"/>
              </a:cxn>
              <a:cxn ang="0">
                <a:pos x="93" y="104"/>
              </a:cxn>
            </a:cxnLst>
            <a:rect l="0" t="0" r="r" b="b"/>
            <a:pathLst>
              <a:path w="152" h="221">
                <a:moveTo>
                  <a:pt x="76" y="31"/>
                </a:moveTo>
                <a:cubicBezTo>
                  <a:pt x="78" y="31"/>
                  <a:pt x="80" y="30"/>
                  <a:pt x="80" y="27"/>
                </a:cubicBezTo>
                <a:cubicBezTo>
                  <a:pt x="80" y="25"/>
                  <a:pt x="78" y="23"/>
                  <a:pt x="76" y="23"/>
                </a:cubicBezTo>
                <a:cubicBezTo>
                  <a:pt x="47" y="23"/>
                  <a:pt x="23" y="47"/>
                  <a:pt x="23" y="76"/>
                </a:cubicBezTo>
                <a:cubicBezTo>
                  <a:pt x="23" y="78"/>
                  <a:pt x="25" y="80"/>
                  <a:pt x="27" y="80"/>
                </a:cubicBezTo>
                <a:cubicBezTo>
                  <a:pt x="29" y="80"/>
                  <a:pt x="31" y="78"/>
                  <a:pt x="31" y="76"/>
                </a:cubicBezTo>
                <a:cubicBezTo>
                  <a:pt x="31" y="52"/>
                  <a:pt x="51" y="31"/>
                  <a:pt x="76" y="31"/>
                </a:cubicBezTo>
                <a:close/>
                <a:moveTo>
                  <a:pt x="44" y="192"/>
                </a:moveTo>
                <a:cubicBezTo>
                  <a:pt x="45" y="203"/>
                  <a:pt x="45" y="203"/>
                  <a:pt x="45" y="203"/>
                </a:cubicBezTo>
                <a:cubicBezTo>
                  <a:pt x="45" y="203"/>
                  <a:pt x="48" y="207"/>
                  <a:pt x="56" y="209"/>
                </a:cubicBezTo>
                <a:cubicBezTo>
                  <a:pt x="57" y="216"/>
                  <a:pt x="57" y="216"/>
                  <a:pt x="57" y="216"/>
                </a:cubicBezTo>
                <a:cubicBezTo>
                  <a:pt x="57" y="216"/>
                  <a:pt x="61" y="221"/>
                  <a:pt x="76" y="221"/>
                </a:cubicBezTo>
                <a:cubicBezTo>
                  <a:pt x="91" y="221"/>
                  <a:pt x="95" y="216"/>
                  <a:pt x="95" y="216"/>
                </a:cubicBezTo>
                <a:cubicBezTo>
                  <a:pt x="96" y="209"/>
                  <a:pt x="96" y="209"/>
                  <a:pt x="96" y="209"/>
                </a:cubicBezTo>
                <a:cubicBezTo>
                  <a:pt x="104" y="207"/>
                  <a:pt x="106" y="203"/>
                  <a:pt x="106" y="203"/>
                </a:cubicBezTo>
                <a:cubicBezTo>
                  <a:pt x="108" y="192"/>
                  <a:pt x="108" y="192"/>
                  <a:pt x="108" y="192"/>
                </a:cubicBezTo>
                <a:cubicBezTo>
                  <a:pt x="98" y="195"/>
                  <a:pt x="87" y="197"/>
                  <a:pt x="76" y="197"/>
                </a:cubicBezTo>
                <a:cubicBezTo>
                  <a:pt x="64" y="197"/>
                  <a:pt x="54" y="195"/>
                  <a:pt x="44" y="192"/>
                </a:cubicBezTo>
                <a:close/>
                <a:moveTo>
                  <a:pt x="41" y="170"/>
                </a:moveTo>
                <a:cubicBezTo>
                  <a:pt x="42" y="182"/>
                  <a:pt x="42" y="182"/>
                  <a:pt x="42" y="182"/>
                </a:cubicBezTo>
                <a:cubicBezTo>
                  <a:pt x="52" y="186"/>
                  <a:pt x="64" y="188"/>
                  <a:pt x="76" y="188"/>
                </a:cubicBezTo>
                <a:cubicBezTo>
                  <a:pt x="88" y="188"/>
                  <a:pt x="99" y="186"/>
                  <a:pt x="109" y="182"/>
                </a:cubicBezTo>
                <a:cubicBezTo>
                  <a:pt x="111" y="170"/>
                  <a:pt x="111" y="170"/>
                  <a:pt x="111" y="170"/>
                </a:cubicBezTo>
                <a:cubicBezTo>
                  <a:pt x="100" y="174"/>
                  <a:pt x="89" y="177"/>
                  <a:pt x="76" y="177"/>
                </a:cubicBezTo>
                <a:cubicBezTo>
                  <a:pt x="63" y="177"/>
                  <a:pt x="51" y="174"/>
                  <a:pt x="41" y="170"/>
                </a:cubicBezTo>
                <a:close/>
                <a:moveTo>
                  <a:pt x="76" y="0"/>
                </a:moveTo>
                <a:cubicBezTo>
                  <a:pt x="34" y="0"/>
                  <a:pt x="0" y="34"/>
                  <a:pt x="0" y="76"/>
                </a:cubicBezTo>
                <a:cubicBezTo>
                  <a:pt x="0" y="104"/>
                  <a:pt x="15" y="128"/>
                  <a:pt x="36" y="141"/>
                </a:cubicBezTo>
                <a:cubicBezTo>
                  <a:pt x="39" y="160"/>
                  <a:pt x="39" y="160"/>
                  <a:pt x="39" y="160"/>
                </a:cubicBezTo>
                <a:cubicBezTo>
                  <a:pt x="50" y="165"/>
                  <a:pt x="63" y="168"/>
                  <a:pt x="76" y="168"/>
                </a:cubicBezTo>
                <a:cubicBezTo>
                  <a:pt x="89" y="168"/>
                  <a:pt x="102" y="165"/>
                  <a:pt x="113" y="160"/>
                </a:cubicBezTo>
                <a:cubicBezTo>
                  <a:pt x="115" y="141"/>
                  <a:pt x="115" y="141"/>
                  <a:pt x="115" y="141"/>
                </a:cubicBezTo>
                <a:cubicBezTo>
                  <a:pt x="137" y="128"/>
                  <a:pt x="152" y="104"/>
                  <a:pt x="152" y="76"/>
                </a:cubicBezTo>
                <a:cubicBezTo>
                  <a:pt x="152" y="34"/>
                  <a:pt x="118" y="0"/>
                  <a:pt x="76" y="0"/>
                </a:cubicBezTo>
                <a:close/>
                <a:moveTo>
                  <a:pt x="104" y="132"/>
                </a:moveTo>
                <a:cubicBezTo>
                  <a:pt x="102" y="150"/>
                  <a:pt x="102" y="150"/>
                  <a:pt x="102" y="150"/>
                </a:cubicBezTo>
                <a:cubicBezTo>
                  <a:pt x="102" y="150"/>
                  <a:pt x="95" y="154"/>
                  <a:pt x="76" y="154"/>
                </a:cubicBezTo>
                <a:cubicBezTo>
                  <a:pt x="57" y="154"/>
                  <a:pt x="50" y="150"/>
                  <a:pt x="50" y="150"/>
                </a:cubicBezTo>
                <a:cubicBezTo>
                  <a:pt x="48" y="132"/>
                  <a:pt x="48" y="132"/>
                  <a:pt x="48" y="132"/>
                </a:cubicBezTo>
                <a:cubicBezTo>
                  <a:pt x="27" y="122"/>
                  <a:pt x="13" y="101"/>
                  <a:pt x="13" y="76"/>
                </a:cubicBezTo>
                <a:cubicBezTo>
                  <a:pt x="13" y="42"/>
                  <a:pt x="41" y="14"/>
                  <a:pt x="76" y="14"/>
                </a:cubicBezTo>
                <a:cubicBezTo>
                  <a:pt x="110" y="14"/>
                  <a:pt x="139" y="42"/>
                  <a:pt x="139" y="76"/>
                </a:cubicBezTo>
                <a:cubicBezTo>
                  <a:pt x="139" y="101"/>
                  <a:pt x="124" y="122"/>
                  <a:pt x="104" y="132"/>
                </a:cubicBezTo>
                <a:close/>
                <a:moveTo>
                  <a:pt x="93" y="104"/>
                </a:moveTo>
                <a:cubicBezTo>
                  <a:pt x="76" y="74"/>
                  <a:pt x="76" y="74"/>
                  <a:pt x="76" y="74"/>
                </a:cubicBezTo>
                <a:cubicBezTo>
                  <a:pt x="59" y="104"/>
                  <a:pt x="59" y="104"/>
                  <a:pt x="59" y="104"/>
                </a:cubicBezTo>
                <a:cubicBezTo>
                  <a:pt x="52" y="89"/>
                  <a:pt x="52" y="89"/>
                  <a:pt x="52" y="89"/>
                </a:cubicBezTo>
                <a:cubicBezTo>
                  <a:pt x="41" y="94"/>
                  <a:pt x="41" y="94"/>
                  <a:pt x="41" y="94"/>
                </a:cubicBezTo>
                <a:cubicBezTo>
                  <a:pt x="58" y="131"/>
                  <a:pt x="58" y="131"/>
                  <a:pt x="58" y="131"/>
                </a:cubicBezTo>
                <a:cubicBezTo>
                  <a:pt x="76" y="98"/>
                  <a:pt x="76" y="98"/>
                  <a:pt x="76" y="98"/>
                </a:cubicBezTo>
                <a:cubicBezTo>
                  <a:pt x="94" y="131"/>
                  <a:pt x="94" y="131"/>
                  <a:pt x="94" y="131"/>
                </a:cubicBezTo>
                <a:cubicBezTo>
                  <a:pt x="111" y="94"/>
                  <a:pt x="111" y="94"/>
                  <a:pt x="111" y="94"/>
                </a:cubicBezTo>
                <a:cubicBezTo>
                  <a:pt x="100" y="89"/>
                  <a:pt x="100" y="89"/>
                  <a:pt x="100" y="89"/>
                </a:cubicBezTo>
                <a:lnTo>
                  <a:pt x="93" y="104"/>
                </a:lnTo>
                <a:close/>
              </a:path>
            </a:pathLst>
          </a:custGeom>
          <a:solidFill>
            <a:srgbClr val="40937D"/>
          </a:solidFill>
          <a:ln w="9525">
            <a:noFill/>
            <a:round/>
            <a:headEnd/>
            <a:tailEnd/>
          </a:ln>
          <a:effectLst>
            <a:outerShdw blurRad="381000" dist="101600" dir="2700000" algn="ctr" rotWithShape="0">
              <a:srgbClr val="000000">
                <a:alpha val="3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>
              <a:latin typeface="微软雅黑"/>
              <a:cs typeface="+mn-ea"/>
              <a:sym typeface="微软雅黑"/>
            </a:endParaRPr>
          </a:p>
        </p:txBody>
      </p:sp>
      <p:cxnSp>
        <p:nvCxnSpPr>
          <p:cNvPr id="63" name="直接连接符 107"/>
          <p:cNvCxnSpPr/>
          <p:nvPr/>
        </p:nvCxnSpPr>
        <p:spPr>
          <a:xfrm>
            <a:off x="1358168" y="2074062"/>
            <a:ext cx="481041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连接符 111"/>
          <p:cNvCxnSpPr/>
          <p:nvPr/>
        </p:nvCxnSpPr>
        <p:spPr>
          <a:xfrm>
            <a:off x="4096516" y="4221814"/>
            <a:ext cx="397780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Freeform 48"/>
          <p:cNvSpPr>
            <a:spLocks noEditPoints="1"/>
          </p:cNvSpPr>
          <p:nvPr/>
        </p:nvSpPr>
        <p:spPr bwMode="auto">
          <a:xfrm>
            <a:off x="6867991" y="5166462"/>
            <a:ext cx="441213" cy="645586"/>
          </a:xfrm>
          <a:custGeom>
            <a:avLst/>
            <a:gdLst/>
            <a:ahLst/>
            <a:cxnLst>
              <a:cxn ang="0">
                <a:pos x="76" y="31"/>
              </a:cxn>
              <a:cxn ang="0">
                <a:pos x="80" y="27"/>
              </a:cxn>
              <a:cxn ang="0">
                <a:pos x="76" y="23"/>
              </a:cxn>
              <a:cxn ang="0">
                <a:pos x="23" y="76"/>
              </a:cxn>
              <a:cxn ang="0">
                <a:pos x="27" y="80"/>
              </a:cxn>
              <a:cxn ang="0">
                <a:pos x="31" y="76"/>
              </a:cxn>
              <a:cxn ang="0">
                <a:pos x="76" y="31"/>
              </a:cxn>
              <a:cxn ang="0">
                <a:pos x="44" y="192"/>
              </a:cxn>
              <a:cxn ang="0">
                <a:pos x="45" y="203"/>
              </a:cxn>
              <a:cxn ang="0">
                <a:pos x="56" y="209"/>
              </a:cxn>
              <a:cxn ang="0">
                <a:pos x="57" y="216"/>
              </a:cxn>
              <a:cxn ang="0">
                <a:pos x="76" y="221"/>
              </a:cxn>
              <a:cxn ang="0">
                <a:pos x="95" y="216"/>
              </a:cxn>
              <a:cxn ang="0">
                <a:pos x="96" y="209"/>
              </a:cxn>
              <a:cxn ang="0">
                <a:pos x="106" y="203"/>
              </a:cxn>
              <a:cxn ang="0">
                <a:pos x="108" y="192"/>
              </a:cxn>
              <a:cxn ang="0">
                <a:pos x="76" y="197"/>
              </a:cxn>
              <a:cxn ang="0">
                <a:pos x="44" y="192"/>
              </a:cxn>
              <a:cxn ang="0">
                <a:pos x="41" y="170"/>
              </a:cxn>
              <a:cxn ang="0">
                <a:pos x="42" y="182"/>
              </a:cxn>
              <a:cxn ang="0">
                <a:pos x="76" y="188"/>
              </a:cxn>
              <a:cxn ang="0">
                <a:pos x="109" y="182"/>
              </a:cxn>
              <a:cxn ang="0">
                <a:pos x="111" y="170"/>
              </a:cxn>
              <a:cxn ang="0">
                <a:pos x="76" y="177"/>
              </a:cxn>
              <a:cxn ang="0">
                <a:pos x="41" y="170"/>
              </a:cxn>
              <a:cxn ang="0">
                <a:pos x="76" y="0"/>
              </a:cxn>
              <a:cxn ang="0">
                <a:pos x="0" y="76"/>
              </a:cxn>
              <a:cxn ang="0">
                <a:pos x="36" y="141"/>
              </a:cxn>
              <a:cxn ang="0">
                <a:pos x="39" y="160"/>
              </a:cxn>
              <a:cxn ang="0">
                <a:pos x="76" y="168"/>
              </a:cxn>
              <a:cxn ang="0">
                <a:pos x="113" y="160"/>
              </a:cxn>
              <a:cxn ang="0">
                <a:pos x="115" y="141"/>
              </a:cxn>
              <a:cxn ang="0">
                <a:pos x="152" y="76"/>
              </a:cxn>
              <a:cxn ang="0">
                <a:pos x="76" y="0"/>
              </a:cxn>
              <a:cxn ang="0">
                <a:pos x="104" y="132"/>
              </a:cxn>
              <a:cxn ang="0">
                <a:pos x="102" y="150"/>
              </a:cxn>
              <a:cxn ang="0">
                <a:pos x="76" y="154"/>
              </a:cxn>
              <a:cxn ang="0">
                <a:pos x="50" y="150"/>
              </a:cxn>
              <a:cxn ang="0">
                <a:pos x="48" y="132"/>
              </a:cxn>
              <a:cxn ang="0">
                <a:pos x="13" y="76"/>
              </a:cxn>
              <a:cxn ang="0">
                <a:pos x="76" y="14"/>
              </a:cxn>
              <a:cxn ang="0">
                <a:pos x="139" y="76"/>
              </a:cxn>
              <a:cxn ang="0">
                <a:pos x="104" y="132"/>
              </a:cxn>
              <a:cxn ang="0">
                <a:pos x="93" y="104"/>
              </a:cxn>
              <a:cxn ang="0">
                <a:pos x="76" y="74"/>
              </a:cxn>
              <a:cxn ang="0">
                <a:pos x="59" y="104"/>
              </a:cxn>
              <a:cxn ang="0">
                <a:pos x="52" y="89"/>
              </a:cxn>
              <a:cxn ang="0">
                <a:pos x="41" y="94"/>
              </a:cxn>
              <a:cxn ang="0">
                <a:pos x="58" y="131"/>
              </a:cxn>
              <a:cxn ang="0">
                <a:pos x="76" y="98"/>
              </a:cxn>
              <a:cxn ang="0">
                <a:pos x="94" y="131"/>
              </a:cxn>
              <a:cxn ang="0">
                <a:pos x="111" y="94"/>
              </a:cxn>
              <a:cxn ang="0">
                <a:pos x="100" y="89"/>
              </a:cxn>
              <a:cxn ang="0">
                <a:pos x="93" y="104"/>
              </a:cxn>
            </a:cxnLst>
            <a:rect l="0" t="0" r="r" b="b"/>
            <a:pathLst>
              <a:path w="152" h="221">
                <a:moveTo>
                  <a:pt x="76" y="31"/>
                </a:moveTo>
                <a:cubicBezTo>
                  <a:pt x="78" y="31"/>
                  <a:pt x="80" y="30"/>
                  <a:pt x="80" y="27"/>
                </a:cubicBezTo>
                <a:cubicBezTo>
                  <a:pt x="80" y="25"/>
                  <a:pt x="78" y="23"/>
                  <a:pt x="76" y="23"/>
                </a:cubicBezTo>
                <a:cubicBezTo>
                  <a:pt x="47" y="23"/>
                  <a:pt x="23" y="47"/>
                  <a:pt x="23" y="76"/>
                </a:cubicBezTo>
                <a:cubicBezTo>
                  <a:pt x="23" y="78"/>
                  <a:pt x="25" y="80"/>
                  <a:pt x="27" y="80"/>
                </a:cubicBezTo>
                <a:cubicBezTo>
                  <a:pt x="29" y="80"/>
                  <a:pt x="31" y="78"/>
                  <a:pt x="31" y="76"/>
                </a:cubicBezTo>
                <a:cubicBezTo>
                  <a:pt x="31" y="52"/>
                  <a:pt x="51" y="31"/>
                  <a:pt x="76" y="31"/>
                </a:cubicBezTo>
                <a:close/>
                <a:moveTo>
                  <a:pt x="44" y="192"/>
                </a:moveTo>
                <a:cubicBezTo>
                  <a:pt x="45" y="203"/>
                  <a:pt x="45" y="203"/>
                  <a:pt x="45" y="203"/>
                </a:cubicBezTo>
                <a:cubicBezTo>
                  <a:pt x="45" y="203"/>
                  <a:pt x="48" y="207"/>
                  <a:pt x="56" y="209"/>
                </a:cubicBezTo>
                <a:cubicBezTo>
                  <a:pt x="57" y="216"/>
                  <a:pt x="57" y="216"/>
                  <a:pt x="57" y="216"/>
                </a:cubicBezTo>
                <a:cubicBezTo>
                  <a:pt x="57" y="216"/>
                  <a:pt x="61" y="221"/>
                  <a:pt x="76" y="221"/>
                </a:cubicBezTo>
                <a:cubicBezTo>
                  <a:pt x="91" y="221"/>
                  <a:pt x="95" y="216"/>
                  <a:pt x="95" y="216"/>
                </a:cubicBezTo>
                <a:cubicBezTo>
                  <a:pt x="96" y="209"/>
                  <a:pt x="96" y="209"/>
                  <a:pt x="96" y="209"/>
                </a:cubicBezTo>
                <a:cubicBezTo>
                  <a:pt x="104" y="207"/>
                  <a:pt x="106" y="203"/>
                  <a:pt x="106" y="203"/>
                </a:cubicBezTo>
                <a:cubicBezTo>
                  <a:pt x="108" y="192"/>
                  <a:pt x="108" y="192"/>
                  <a:pt x="108" y="192"/>
                </a:cubicBezTo>
                <a:cubicBezTo>
                  <a:pt x="98" y="195"/>
                  <a:pt x="87" y="197"/>
                  <a:pt x="76" y="197"/>
                </a:cubicBezTo>
                <a:cubicBezTo>
                  <a:pt x="64" y="197"/>
                  <a:pt x="54" y="195"/>
                  <a:pt x="44" y="192"/>
                </a:cubicBezTo>
                <a:close/>
                <a:moveTo>
                  <a:pt x="41" y="170"/>
                </a:moveTo>
                <a:cubicBezTo>
                  <a:pt x="42" y="182"/>
                  <a:pt x="42" y="182"/>
                  <a:pt x="42" y="182"/>
                </a:cubicBezTo>
                <a:cubicBezTo>
                  <a:pt x="52" y="186"/>
                  <a:pt x="64" y="188"/>
                  <a:pt x="76" y="188"/>
                </a:cubicBezTo>
                <a:cubicBezTo>
                  <a:pt x="88" y="188"/>
                  <a:pt x="99" y="186"/>
                  <a:pt x="109" y="182"/>
                </a:cubicBezTo>
                <a:cubicBezTo>
                  <a:pt x="111" y="170"/>
                  <a:pt x="111" y="170"/>
                  <a:pt x="111" y="170"/>
                </a:cubicBezTo>
                <a:cubicBezTo>
                  <a:pt x="100" y="174"/>
                  <a:pt x="89" y="177"/>
                  <a:pt x="76" y="177"/>
                </a:cubicBezTo>
                <a:cubicBezTo>
                  <a:pt x="63" y="177"/>
                  <a:pt x="51" y="174"/>
                  <a:pt x="41" y="170"/>
                </a:cubicBezTo>
                <a:close/>
                <a:moveTo>
                  <a:pt x="76" y="0"/>
                </a:moveTo>
                <a:cubicBezTo>
                  <a:pt x="34" y="0"/>
                  <a:pt x="0" y="34"/>
                  <a:pt x="0" y="76"/>
                </a:cubicBezTo>
                <a:cubicBezTo>
                  <a:pt x="0" y="104"/>
                  <a:pt x="15" y="128"/>
                  <a:pt x="36" y="141"/>
                </a:cubicBezTo>
                <a:cubicBezTo>
                  <a:pt x="39" y="160"/>
                  <a:pt x="39" y="160"/>
                  <a:pt x="39" y="160"/>
                </a:cubicBezTo>
                <a:cubicBezTo>
                  <a:pt x="50" y="165"/>
                  <a:pt x="63" y="168"/>
                  <a:pt x="76" y="168"/>
                </a:cubicBezTo>
                <a:cubicBezTo>
                  <a:pt x="89" y="168"/>
                  <a:pt x="102" y="165"/>
                  <a:pt x="113" y="160"/>
                </a:cubicBezTo>
                <a:cubicBezTo>
                  <a:pt x="115" y="141"/>
                  <a:pt x="115" y="141"/>
                  <a:pt x="115" y="141"/>
                </a:cubicBezTo>
                <a:cubicBezTo>
                  <a:pt x="137" y="128"/>
                  <a:pt x="152" y="104"/>
                  <a:pt x="152" y="76"/>
                </a:cubicBezTo>
                <a:cubicBezTo>
                  <a:pt x="152" y="34"/>
                  <a:pt x="118" y="0"/>
                  <a:pt x="76" y="0"/>
                </a:cubicBezTo>
                <a:close/>
                <a:moveTo>
                  <a:pt x="104" y="132"/>
                </a:moveTo>
                <a:cubicBezTo>
                  <a:pt x="102" y="150"/>
                  <a:pt x="102" y="150"/>
                  <a:pt x="102" y="150"/>
                </a:cubicBezTo>
                <a:cubicBezTo>
                  <a:pt x="102" y="150"/>
                  <a:pt x="95" y="154"/>
                  <a:pt x="76" y="154"/>
                </a:cubicBezTo>
                <a:cubicBezTo>
                  <a:pt x="57" y="154"/>
                  <a:pt x="50" y="150"/>
                  <a:pt x="50" y="150"/>
                </a:cubicBezTo>
                <a:cubicBezTo>
                  <a:pt x="48" y="132"/>
                  <a:pt x="48" y="132"/>
                  <a:pt x="48" y="132"/>
                </a:cubicBezTo>
                <a:cubicBezTo>
                  <a:pt x="27" y="122"/>
                  <a:pt x="13" y="101"/>
                  <a:pt x="13" y="76"/>
                </a:cubicBezTo>
                <a:cubicBezTo>
                  <a:pt x="13" y="42"/>
                  <a:pt x="41" y="14"/>
                  <a:pt x="76" y="14"/>
                </a:cubicBezTo>
                <a:cubicBezTo>
                  <a:pt x="110" y="14"/>
                  <a:pt x="139" y="42"/>
                  <a:pt x="139" y="76"/>
                </a:cubicBezTo>
                <a:cubicBezTo>
                  <a:pt x="139" y="101"/>
                  <a:pt x="124" y="122"/>
                  <a:pt x="104" y="132"/>
                </a:cubicBezTo>
                <a:close/>
                <a:moveTo>
                  <a:pt x="93" y="104"/>
                </a:moveTo>
                <a:cubicBezTo>
                  <a:pt x="76" y="74"/>
                  <a:pt x="76" y="74"/>
                  <a:pt x="76" y="74"/>
                </a:cubicBezTo>
                <a:cubicBezTo>
                  <a:pt x="59" y="104"/>
                  <a:pt x="59" y="104"/>
                  <a:pt x="59" y="104"/>
                </a:cubicBezTo>
                <a:cubicBezTo>
                  <a:pt x="52" y="89"/>
                  <a:pt x="52" y="89"/>
                  <a:pt x="52" y="89"/>
                </a:cubicBezTo>
                <a:cubicBezTo>
                  <a:pt x="41" y="94"/>
                  <a:pt x="41" y="94"/>
                  <a:pt x="41" y="94"/>
                </a:cubicBezTo>
                <a:cubicBezTo>
                  <a:pt x="58" y="131"/>
                  <a:pt x="58" y="131"/>
                  <a:pt x="58" y="131"/>
                </a:cubicBezTo>
                <a:cubicBezTo>
                  <a:pt x="76" y="98"/>
                  <a:pt x="76" y="98"/>
                  <a:pt x="76" y="98"/>
                </a:cubicBezTo>
                <a:cubicBezTo>
                  <a:pt x="94" y="131"/>
                  <a:pt x="94" y="131"/>
                  <a:pt x="94" y="131"/>
                </a:cubicBezTo>
                <a:cubicBezTo>
                  <a:pt x="111" y="94"/>
                  <a:pt x="111" y="94"/>
                  <a:pt x="111" y="94"/>
                </a:cubicBezTo>
                <a:cubicBezTo>
                  <a:pt x="100" y="89"/>
                  <a:pt x="100" y="89"/>
                  <a:pt x="100" y="89"/>
                </a:cubicBezTo>
                <a:lnTo>
                  <a:pt x="93" y="104"/>
                </a:lnTo>
                <a:close/>
              </a:path>
            </a:pathLst>
          </a:custGeom>
          <a:solidFill>
            <a:srgbClr val="40937D"/>
          </a:solidFill>
          <a:ln w="9525">
            <a:noFill/>
            <a:round/>
            <a:headEnd/>
            <a:tailEnd/>
          </a:ln>
          <a:effectLst>
            <a:outerShdw blurRad="381000" dist="101600" dir="2700000" algn="ctr" rotWithShape="0">
              <a:srgbClr val="000000">
                <a:alpha val="3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>
              <a:latin typeface="微软雅黑"/>
              <a:cs typeface="+mn-ea"/>
              <a:sym typeface="微软雅黑"/>
            </a:endParaRPr>
          </a:p>
        </p:txBody>
      </p:sp>
      <p:cxnSp>
        <p:nvCxnSpPr>
          <p:cNvPr id="66" name="直接连接符 115"/>
          <p:cNvCxnSpPr/>
          <p:nvPr/>
        </p:nvCxnSpPr>
        <p:spPr>
          <a:xfrm>
            <a:off x="7311322" y="5832923"/>
            <a:ext cx="397780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068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38" y="271377"/>
            <a:ext cx="3011485" cy="1180501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3712104" y="205931"/>
            <a:ext cx="79032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2400" b="1" dirty="0" smtClean="0">
                <a:solidFill>
                  <a:srgbClr val="494949"/>
                </a:solidFill>
                <a:sym typeface="+mn-lt"/>
              </a:rPr>
              <a:t>ШКОЛА МЕСТНЫХ ИНИЦИАТИВ 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4065" y="1159183"/>
            <a:ext cx="6025253" cy="4286875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76" y="2635622"/>
            <a:ext cx="5038165" cy="3778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012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38" y="271377"/>
            <a:ext cx="3011485" cy="1180501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3712104" y="205931"/>
            <a:ext cx="79032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2400" b="1" dirty="0" smtClean="0">
                <a:solidFill>
                  <a:srgbClr val="494949"/>
                </a:solidFill>
                <a:sym typeface="+mn-lt"/>
              </a:rPr>
              <a:t>ШКОЛА МЕСТНЫХ ИНИЦИАТИВ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528354" y="916372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ru-RU" sz="2400" b="1" dirty="0">
                <a:solidFill>
                  <a:srgbClr val="274255"/>
                </a:solidFill>
              </a:rPr>
              <a:t>Условия участия </a:t>
            </a:r>
            <a:endParaRPr lang="en-US" sz="2400" b="1" dirty="0">
              <a:solidFill>
                <a:srgbClr val="274255"/>
              </a:solidFill>
              <a:sym typeface="微软雅黑" panose="020B0503020204020204" pitchFamily="34" charset="-122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03869" y="1664403"/>
            <a:ext cx="10536195" cy="5118711"/>
          </a:xfrm>
          <a:prstGeom prst="rect">
            <a:avLst/>
          </a:prstGeom>
          <a:noFill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2822438" y="1735064"/>
            <a:ext cx="659027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Для участия в программе необходимо внести </a:t>
            </a: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ПРЕДЛОЖЕНИЕ</a:t>
            </a: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 по 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реализации Вашего проекта в местную администрацию </a:t>
            </a:r>
            <a:endParaRPr lang="ru-RU" dirty="0" smtClean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В ФОРМЕ ИНИЦИАТИВНОГО ПРОЕКТА</a:t>
            </a:r>
            <a:endParaRPr lang="ru-RU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2933529" y="2698314"/>
            <a:ext cx="693587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Предлагаемый инициативный проект </a:t>
            </a: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ДО</a:t>
            </a: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 его </a:t>
            </a: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ВНЕСЕНИЯ</a:t>
            </a: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 в 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местную администрацию </a:t>
            </a: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должен быть </a:t>
            </a: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РАССМОТРЕН и ПОДДЕРЖАН</a:t>
            </a: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 на 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сходе, собрании или конференции </a:t>
            </a: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граждан, оформляется </a:t>
            </a: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ПРОТОКОЛ</a:t>
            </a: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 с фиксацией результатов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3681923" y="3889430"/>
            <a:ext cx="739427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pc="-20" dirty="0">
                <a:latin typeface="Times New Roman" panose="02020603050405020304" pitchFamily="18" charset="0"/>
                <a:ea typeface="Calibri" panose="020F0502020204030204" pitchFamily="34" charset="0"/>
              </a:rPr>
              <a:t>Реализация мероприятий программы позволит решить </a:t>
            </a:r>
            <a:r>
              <a:rPr lang="ru-RU" b="1" spc="-2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АКТУАЛЬНЫЕ ПРОБЛЕМЫ </a:t>
            </a:r>
            <a:r>
              <a:rPr lang="ru-RU" spc="-2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обеспечения </a:t>
            </a:r>
            <a:r>
              <a:rPr lang="ru-RU" spc="-20" dirty="0">
                <a:latin typeface="Times New Roman" panose="02020603050405020304" pitchFamily="18" charset="0"/>
                <a:ea typeface="Calibri" panose="020F0502020204030204" pitchFamily="34" charset="0"/>
              </a:rPr>
              <a:t>территорий муниципальных образований Ставропольского края объектами социальной инфраструктуры, </a:t>
            </a:r>
            <a:r>
              <a:rPr lang="ru-RU" b="1" spc="-20" dirty="0">
                <a:latin typeface="Times New Roman" panose="02020603050405020304" pitchFamily="18" charset="0"/>
                <a:ea typeface="Calibri" panose="020F0502020204030204" pitchFamily="34" charset="0"/>
              </a:rPr>
              <a:t>выбор</a:t>
            </a:r>
            <a:r>
              <a:rPr lang="ru-RU" spc="-20" dirty="0">
                <a:latin typeface="Times New Roman" panose="02020603050405020304" pitchFamily="18" charset="0"/>
                <a:ea typeface="Calibri" panose="020F0502020204030204" pitchFamily="34" charset="0"/>
              </a:rPr>
              <a:t> которых </a:t>
            </a:r>
            <a:r>
              <a:rPr lang="ru-RU" spc="-2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осуществляется непосредственно </a:t>
            </a:r>
            <a:r>
              <a:rPr lang="ru-RU" b="1" spc="-20" dirty="0">
                <a:latin typeface="Times New Roman" panose="02020603050405020304" pitchFamily="18" charset="0"/>
                <a:ea typeface="Calibri" panose="020F0502020204030204" pitchFamily="34" charset="0"/>
              </a:rPr>
              <a:t>населением</a:t>
            </a:r>
            <a:endParaRPr lang="ru-RU" b="1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9086" y="1744057"/>
            <a:ext cx="1054443" cy="105444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58311" y="2561063"/>
            <a:ext cx="1230932" cy="118518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81184" y="3652204"/>
            <a:ext cx="1644417" cy="164441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551" b="11592"/>
          <a:stretch/>
        </p:blipFill>
        <p:spPr>
          <a:xfrm>
            <a:off x="1586116" y="2097892"/>
            <a:ext cx="337945" cy="372409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551" b="11592"/>
          <a:stretch/>
        </p:blipFill>
        <p:spPr>
          <a:xfrm>
            <a:off x="11076198" y="5820897"/>
            <a:ext cx="337945" cy="37240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551" b="11592"/>
          <a:stretch/>
        </p:blipFill>
        <p:spPr>
          <a:xfrm>
            <a:off x="895749" y="6410705"/>
            <a:ext cx="337945" cy="372409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2011611" y="5119581"/>
            <a:ext cx="634366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Информация</a:t>
            </a:r>
            <a:r>
              <a:rPr lang="ru-RU" sz="14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</a:rPr>
              <a:t>об условиях проведения конкурсного отбора 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проектов, способах и сроках внесения в местную администрацию инициативных проектов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</a:rPr>
              <a:t>размещается на официальном сайте местной администрации 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в информационно-телекоммуникационной сети «Интернет»</a:t>
            </a:r>
            <a:endParaRPr lang="ru-RU" dirty="0"/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27750" y="5142596"/>
            <a:ext cx="1169918" cy="1169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493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4VaoBFY0K110UPiucs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f8qJ5f0USiPj7ky6tXlA"/>
</p:tagLst>
</file>

<file path=ppt/theme/theme1.xml><?xml version="1.0" encoding="utf-8"?>
<a:theme xmlns:a="http://schemas.openxmlformats.org/drawingml/2006/main" name="Тема Office">
  <a:themeElements>
    <a:clrScheme name="Рабочая тема">
      <a:dk1>
        <a:srgbClr val="0070C0"/>
      </a:dk1>
      <a:lt1>
        <a:sysClr val="window" lastClr="FFFFFF"/>
      </a:lt1>
      <a:dk2>
        <a:srgbClr val="C63434"/>
      </a:dk2>
      <a:lt2>
        <a:srgbClr val="9671BB"/>
      </a:lt2>
      <a:accent1>
        <a:srgbClr val="A08D7C"/>
      </a:accent1>
      <a:accent2>
        <a:srgbClr val="FFB03D"/>
      </a:accent2>
      <a:accent3>
        <a:srgbClr val="E97B46"/>
      </a:accent3>
      <a:accent4>
        <a:srgbClr val="1CB57C"/>
      </a:accent4>
      <a:accent5>
        <a:srgbClr val="219B9E"/>
      </a:accent5>
      <a:accent6>
        <a:srgbClr val="0070C0"/>
      </a:accent6>
      <a:hlink>
        <a:srgbClr val="9671BB"/>
      </a:hlink>
      <a:folHlink>
        <a:srgbClr val="C63434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330</TotalTime>
  <Words>722</Words>
  <Application>Microsoft Office PowerPoint</Application>
  <PresentationFormat>Широкоэкранный</PresentationFormat>
  <Paragraphs>128</Paragraphs>
  <Slides>17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32" baseType="lpstr">
      <vt:lpstr>Arial Unicode MS</vt:lpstr>
      <vt:lpstr>맑은 고딕</vt:lpstr>
      <vt:lpstr>微软雅黑</vt:lpstr>
      <vt:lpstr>宋体</vt:lpstr>
      <vt:lpstr>Arial</vt:lpstr>
      <vt:lpstr>Calibri</vt:lpstr>
      <vt:lpstr>Candara</vt:lpstr>
      <vt:lpstr>PT Serif</vt:lpstr>
      <vt:lpstr>Segoe UI</vt:lpstr>
      <vt:lpstr>Simplified Arabic</vt:lpstr>
      <vt:lpstr>Tahoma</vt:lpstr>
      <vt:lpstr>Times New Roman</vt:lpstr>
      <vt:lpstr>Wingdings</vt:lpstr>
      <vt:lpstr>方正兰亭黑_GBK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adminws</cp:lastModifiedBy>
  <cp:revision>760</cp:revision>
  <cp:lastPrinted>2022-10-28T09:19:33Z</cp:lastPrinted>
  <dcterms:created xsi:type="dcterms:W3CDTF">2020-04-02T12:37:45Z</dcterms:created>
  <dcterms:modified xsi:type="dcterms:W3CDTF">2023-09-18T21:20:19Z</dcterms:modified>
</cp:coreProperties>
</file>